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24" r:id="rId4"/>
    <p:sldMasterId id="2147483726" r:id="rId5"/>
    <p:sldMasterId id="2147483732" r:id="rId6"/>
    <p:sldMasterId id="2147483752" r:id="rId7"/>
    <p:sldMasterId id="2147483788" r:id="rId8"/>
  </p:sldMasterIdLst>
  <p:notesMasterIdLst>
    <p:notesMasterId r:id="rId16"/>
  </p:notesMasterIdLst>
  <p:handoutMasterIdLst>
    <p:handoutMasterId r:id="rId17"/>
  </p:handoutMasterIdLst>
  <p:sldIdLst>
    <p:sldId id="265" r:id="rId9"/>
    <p:sldId id="2147483646" r:id="rId10"/>
    <p:sldId id="2147480287" r:id="rId11"/>
    <p:sldId id="2147483643" r:id="rId12"/>
    <p:sldId id="274" r:id="rId13"/>
    <p:sldId id="2147480305" r:id="rId14"/>
    <p:sldId id="256" r:id="rId15"/>
  </p:sldIdLst>
  <p:sldSz cx="16200438" cy="8999538"/>
  <p:notesSz cx="6858000" cy="9144000"/>
  <p:embeddedFontLst>
    <p:embeddedFont>
      <p:font typeface="Trebuchet MS" panose="020B0603020202020204" pitchFamily="34" charset="0"/>
      <p:regular r:id="rId18"/>
      <p:bold r:id="rId19"/>
      <p:italic r:id="rId20"/>
      <p:boldItalic r:id="rId21"/>
    </p:embeddedFont>
    <p:embeddedFont>
      <p:font typeface="Sanofi Serif Italic" panose="020B0604020202020204" charset="0"/>
      <p:regular r:id="rId22"/>
      <p:bold r:id="rId23"/>
      <p:italic r:id="rId24"/>
      <p:boldItalic r:id="rId25"/>
    </p:embeddedFont>
    <p:embeddedFont>
      <p:font typeface="Verdana" panose="020B0604030504040204" pitchFamily="34" charset="0"/>
      <p:regular r:id="rId26"/>
      <p:bold r:id="rId27"/>
      <p:italic r:id="rId28"/>
      <p:boldItalic r:id="rId29"/>
    </p:embeddedFont>
    <p:embeddedFont>
      <p:font typeface="Calibri" panose="020F0502020204030204" pitchFamily="34" charset="0"/>
      <p:regular r:id="rId30"/>
      <p:bold r:id="rId31"/>
      <p:italic r:id="rId32"/>
      <p:boldItalic r:id="rId33"/>
    </p:embeddedFont>
    <p:embeddedFont>
      <p:font typeface="Segoe UI Light" panose="020B0502040204020203" pitchFamily="34" charset="0"/>
      <p:regular r:id="rId34"/>
      <p:italic r:id="rId35"/>
    </p:embeddedFont>
    <p:embeddedFont>
      <p:font typeface="Sanofi Serif" panose="020B0604020202020204" charset="0"/>
      <p:regular r:id="rId36"/>
      <p:bold r:id="rId37"/>
      <p:italic r:id="rId38"/>
      <p:boldItalic r:id="rId39"/>
    </p:embeddedFont>
    <p:embeddedFont>
      <p:font typeface="Sanofi Sans" panose="020B0604020202020204" charset="0"/>
      <p:regular r:id="rId40"/>
      <p:bold r:id="rId41"/>
      <p:italic r:id="rId42"/>
      <p:boldItalic r:id="rId43"/>
    </p:embeddedFont>
    <p:embeddedFont>
      <p:font typeface="Georgia" panose="02040502050405020303" pitchFamily="18" charset="0"/>
      <p:regular r:id="rId44"/>
      <p:bold r:id="rId45"/>
      <p:italic r:id="rId46"/>
      <p:boldItalic r:id="rId47"/>
    </p:embeddedFont>
    <p:embeddedFont>
      <p:font typeface="Sanofi Sans 3 Regular" panose="020B0604020202020204" charset="0"/>
      <p:regular r:id="rId48"/>
      <p:bold r:id="rId49"/>
      <p:italic r:id="rId50"/>
      <p:boldItalic r:id="rId51"/>
    </p:embeddedFont>
  </p:embeddedFontLst>
  <p:defaultTextStyle>
    <a:defPPr>
      <a:defRPr lang="en-US"/>
    </a:defPPr>
    <a:lvl1pPr marL="0" algn="l" defTabSz="604740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1pPr>
    <a:lvl2pPr marL="604740" algn="l" defTabSz="604740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2pPr>
    <a:lvl3pPr marL="1209482" algn="l" defTabSz="604740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3pPr>
    <a:lvl4pPr marL="1814223" algn="l" defTabSz="604740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4pPr>
    <a:lvl5pPr marL="2418964" algn="l" defTabSz="604740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5pPr>
    <a:lvl6pPr marL="3023705" algn="l" defTabSz="604740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6pPr>
    <a:lvl7pPr marL="3628447" algn="l" defTabSz="604740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7pPr>
    <a:lvl8pPr marL="4233187" algn="l" defTabSz="604740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8pPr>
    <a:lvl9pPr marL="4837927" algn="l" defTabSz="604740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35" userDrawn="1">
          <p15:clr>
            <a:srgbClr val="A4A3A4"/>
          </p15:clr>
        </p15:guide>
        <p15:guide id="2" pos="51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BB5435-A48A-7E58-49E0-0DB5ED21744D}" name="SCHEINFELD-ext, Ava /FR/EXT" initials="" userId="S::Ava.SCHEINFELD-ext@sanofi.com::67274c4b-d8c1-439e-b5db-7af7e7d8b842" providerId="AD"/>
  <p188:author id="{71E8114F-8C31-60CC-FB07-639B6B2EBD05}" name="Bocquillon, Fabrice /US" initials="FB" userId="S::Fabrice.Bocquillon@sanofi.com::fe9e7ad4-cf05-426f-97e8-8cfcbbb332a3" providerId="AD"/>
  <p188:author id="{C2408CCD-2999-6CA4-D44A-7ACB33A0F8DB}" name="SCHEINFELD-ext, Ava /FR/EXT" initials="SA" userId="S::ava.scheinfeld-ext@sanofi.com::67274c4b-d8c1-439e-b5db-7af7e7d8b84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AF8F"/>
    <a:srgbClr val="0080AE"/>
    <a:srgbClr val="020202"/>
    <a:srgbClr val="2C01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5DB885-2A6B-4142-AC4C-957C5210ACB1}" v="155" dt="2026-05-15T10:06:14.6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58" autoAdjust="0"/>
    <p:restoredTop sz="94404" autoAdjust="0"/>
  </p:normalViewPr>
  <p:slideViewPr>
    <p:cSldViewPr snapToGrid="0" showGuides="1">
      <p:cViewPr varScale="1">
        <p:scale>
          <a:sx n="61" d="100"/>
          <a:sy n="61" d="100"/>
        </p:scale>
        <p:origin x="586" y="48"/>
      </p:cViewPr>
      <p:guideLst>
        <p:guide orient="horz" pos="2835"/>
        <p:guide pos="51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9" Type="http://schemas.openxmlformats.org/officeDocument/2006/relationships/font" Target="fonts/font22.fntdata"/><Relationship Id="rId21" Type="http://schemas.openxmlformats.org/officeDocument/2006/relationships/font" Target="fonts/font4.fntdata"/><Relationship Id="rId34" Type="http://schemas.openxmlformats.org/officeDocument/2006/relationships/font" Target="fonts/font17.fntdata"/><Relationship Id="rId42" Type="http://schemas.openxmlformats.org/officeDocument/2006/relationships/font" Target="fonts/font25.fntdata"/><Relationship Id="rId47" Type="http://schemas.openxmlformats.org/officeDocument/2006/relationships/font" Target="fonts/font30.fntdata"/><Relationship Id="rId50" Type="http://schemas.openxmlformats.org/officeDocument/2006/relationships/font" Target="fonts/font33.fntdata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font" Target="fonts/font16.fntdata"/><Relationship Id="rId38" Type="http://schemas.openxmlformats.org/officeDocument/2006/relationships/font" Target="fonts/font21.fntdata"/><Relationship Id="rId46" Type="http://schemas.openxmlformats.org/officeDocument/2006/relationships/font" Target="fonts/font29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41" Type="http://schemas.openxmlformats.org/officeDocument/2006/relationships/font" Target="fonts/font24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font" Target="fonts/font20.fntdata"/><Relationship Id="rId40" Type="http://schemas.openxmlformats.org/officeDocument/2006/relationships/font" Target="fonts/font23.fntdata"/><Relationship Id="rId45" Type="http://schemas.openxmlformats.org/officeDocument/2006/relationships/font" Target="fonts/font28.fntdata"/><Relationship Id="rId53" Type="http://schemas.openxmlformats.org/officeDocument/2006/relationships/viewProps" Target="viewProps.xml"/><Relationship Id="rId58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font" Target="fonts/font19.fntdata"/><Relationship Id="rId49" Type="http://schemas.openxmlformats.org/officeDocument/2006/relationships/font" Target="fonts/font32.fntdata"/><Relationship Id="rId57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4" Type="http://schemas.openxmlformats.org/officeDocument/2006/relationships/font" Target="fonts/font27.fntdata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font" Target="fonts/font18.fntdata"/><Relationship Id="rId43" Type="http://schemas.openxmlformats.org/officeDocument/2006/relationships/font" Target="fonts/font26.fntdata"/><Relationship Id="rId48" Type="http://schemas.openxmlformats.org/officeDocument/2006/relationships/font" Target="fonts/font31.fntdata"/><Relationship Id="rId56" Type="http://schemas.microsoft.com/office/2018/10/relationships/authors" Target="authors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34.fntdata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eltsov, Alexander /RU" userId="3270c589-cbf6-4951-9531-9e94355ed02e" providerId="ADAL" clId="{F6015943-1F95-44E4-B328-9D750B0E70FF}"/>
    <pc:docChg chg="undo custSel delSld modSld delMainMaster modMainMaster">
      <pc:chgData name="Streltsov, Alexander /RU" userId="3270c589-cbf6-4951-9531-9e94355ed02e" providerId="ADAL" clId="{F6015943-1F95-44E4-B328-9D750B0E70FF}" dt="2026-05-15T10:17:55.946" v="1109" actId="700"/>
      <pc:docMkLst>
        <pc:docMk/>
      </pc:docMkLst>
      <pc:sldChg chg="modSp mod modClrScheme chgLayout">
        <pc:chgData name="Streltsov, Alexander /RU" userId="3270c589-cbf6-4951-9531-9e94355ed02e" providerId="ADAL" clId="{F6015943-1F95-44E4-B328-9D750B0E70FF}" dt="2026-05-15T10:17:55.946" v="1109" actId="700"/>
        <pc:sldMkLst>
          <pc:docMk/>
          <pc:sldMk cId="3072189116" sldId="256"/>
        </pc:sldMkLst>
        <pc:spChg chg="mod">
          <ac:chgData name="Streltsov, Alexander /RU" userId="3270c589-cbf6-4951-9531-9e94355ed02e" providerId="ADAL" clId="{F6015943-1F95-44E4-B328-9D750B0E70FF}" dt="2026-05-15T09:31:10.539" v="29" actId="20577"/>
          <ac:spMkLst>
            <pc:docMk/>
            <pc:sldMk cId="3072189116" sldId="256"/>
            <ac:spMk id="24" creationId="{54C81CA7-43EC-A167-F63D-F02DA46B7F54}"/>
          </ac:spMkLst>
        </pc:spChg>
      </pc:sldChg>
      <pc:sldChg chg="modSp mod modClrScheme chgLayout">
        <pc:chgData name="Streltsov, Alexander /RU" userId="3270c589-cbf6-4951-9531-9e94355ed02e" providerId="ADAL" clId="{F6015943-1F95-44E4-B328-9D750B0E70FF}" dt="2026-05-15T10:17:38.964" v="1107" actId="700"/>
        <pc:sldMkLst>
          <pc:docMk/>
          <pc:sldMk cId="1008475197" sldId="274"/>
        </pc:sldMkLst>
        <pc:spChg chg="mod">
          <ac:chgData name="Streltsov, Alexander /RU" userId="3270c589-cbf6-4951-9531-9e94355ed02e" providerId="ADAL" clId="{F6015943-1F95-44E4-B328-9D750B0E70FF}" dt="2026-05-15T10:00:55.618" v="992" actId="552"/>
          <ac:spMkLst>
            <pc:docMk/>
            <pc:sldMk cId="1008475197" sldId="274"/>
            <ac:spMk id="2" creationId="{CF809B20-B1F5-AA8A-FC0D-BFBEA0762897}"/>
          </ac:spMkLst>
        </pc:spChg>
        <pc:spChg chg="mod">
          <ac:chgData name="Streltsov, Alexander /RU" userId="3270c589-cbf6-4951-9531-9e94355ed02e" providerId="ADAL" clId="{F6015943-1F95-44E4-B328-9D750B0E70FF}" dt="2026-05-15T10:00:41.363" v="991" actId="14100"/>
          <ac:spMkLst>
            <pc:docMk/>
            <pc:sldMk cId="1008475197" sldId="274"/>
            <ac:spMk id="4" creationId="{5BC13430-8567-228B-5DFF-D00BC0D333BA}"/>
          </ac:spMkLst>
        </pc:spChg>
        <pc:spChg chg="mod">
          <ac:chgData name="Streltsov, Alexander /RU" userId="3270c589-cbf6-4951-9531-9e94355ed02e" providerId="ADAL" clId="{F6015943-1F95-44E4-B328-9D750B0E70FF}" dt="2026-05-15T10:01:06.938" v="1006" actId="1037"/>
          <ac:spMkLst>
            <pc:docMk/>
            <pc:sldMk cId="1008475197" sldId="274"/>
            <ac:spMk id="5" creationId="{19ACFD03-B320-11AA-3E68-47819E57F52A}"/>
          </ac:spMkLst>
        </pc:spChg>
        <pc:spChg chg="mod">
          <ac:chgData name="Streltsov, Alexander /RU" userId="3270c589-cbf6-4951-9531-9e94355ed02e" providerId="ADAL" clId="{F6015943-1F95-44E4-B328-9D750B0E70FF}" dt="2026-05-15T10:00:28.465" v="975" actId="14100"/>
          <ac:spMkLst>
            <pc:docMk/>
            <pc:sldMk cId="1008475197" sldId="274"/>
            <ac:spMk id="6" creationId="{D25B6BBE-F935-EC5C-2012-7F490DB0AF9B}"/>
          </ac:spMkLst>
        </pc:spChg>
        <pc:spChg chg="mod">
          <ac:chgData name="Streltsov, Alexander /RU" userId="3270c589-cbf6-4951-9531-9e94355ed02e" providerId="ADAL" clId="{F6015943-1F95-44E4-B328-9D750B0E70FF}" dt="2026-05-15T10:01:06.938" v="1006" actId="1037"/>
          <ac:spMkLst>
            <pc:docMk/>
            <pc:sldMk cId="1008475197" sldId="274"/>
            <ac:spMk id="7" creationId="{0E6578AA-897F-F949-A3AD-9CD150392CCC}"/>
          </ac:spMkLst>
        </pc:spChg>
        <pc:spChg chg="mod">
          <ac:chgData name="Streltsov, Alexander /RU" userId="3270c589-cbf6-4951-9531-9e94355ed02e" providerId="ADAL" clId="{F6015943-1F95-44E4-B328-9D750B0E70FF}" dt="2026-05-15T10:05:15.082" v="1035" actId="20577"/>
          <ac:spMkLst>
            <pc:docMk/>
            <pc:sldMk cId="1008475197" sldId="274"/>
            <ac:spMk id="8" creationId="{A788C264-B66E-BEF4-07BE-C32119DBEB3C}"/>
          </ac:spMkLst>
        </pc:spChg>
        <pc:spChg chg="mod">
          <ac:chgData name="Streltsov, Alexander /RU" userId="3270c589-cbf6-4951-9531-9e94355ed02e" providerId="ADAL" clId="{F6015943-1F95-44E4-B328-9D750B0E70FF}" dt="2026-05-15T10:00:55.618" v="992" actId="552"/>
          <ac:spMkLst>
            <pc:docMk/>
            <pc:sldMk cId="1008475197" sldId="274"/>
            <ac:spMk id="12" creationId="{1512A47A-9A78-1353-8DEE-BFF2D5A395BF}"/>
          </ac:spMkLst>
        </pc:spChg>
        <pc:spChg chg="mod">
          <ac:chgData name="Streltsov, Alexander /RU" userId="3270c589-cbf6-4951-9531-9e94355ed02e" providerId="ADAL" clId="{F6015943-1F95-44E4-B328-9D750B0E70FF}" dt="2026-05-15T10:03:31.566" v="1019" actId="20577"/>
          <ac:spMkLst>
            <pc:docMk/>
            <pc:sldMk cId="1008475197" sldId="274"/>
            <ac:spMk id="13" creationId="{5A1A3766-AEFC-9A22-B450-25A68F503D4A}"/>
          </ac:spMkLst>
        </pc:spChg>
        <pc:spChg chg="mod">
          <ac:chgData name="Streltsov, Alexander /RU" userId="3270c589-cbf6-4951-9531-9e94355ed02e" providerId="ADAL" clId="{F6015943-1F95-44E4-B328-9D750B0E70FF}" dt="2026-05-15T10:02:00.697" v="1017" actId="1076"/>
          <ac:spMkLst>
            <pc:docMk/>
            <pc:sldMk cId="1008475197" sldId="274"/>
            <ac:spMk id="20" creationId="{B3CE21AD-C2C3-B668-A193-5C68C4291794}"/>
          </ac:spMkLst>
        </pc:spChg>
        <pc:spChg chg="mod">
          <ac:chgData name="Streltsov, Alexander /RU" userId="3270c589-cbf6-4951-9531-9e94355ed02e" providerId="ADAL" clId="{F6015943-1F95-44E4-B328-9D750B0E70FF}" dt="2026-05-15T10:04:00.081" v="1024" actId="6549"/>
          <ac:spMkLst>
            <pc:docMk/>
            <pc:sldMk cId="1008475197" sldId="274"/>
            <ac:spMk id="21" creationId="{54D63A62-5B74-1623-1646-9D50014663D9}"/>
          </ac:spMkLst>
        </pc:spChg>
        <pc:spChg chg="mod">
          <ac:chgData name="Streltsov, Alexander /RU" userId="3270c589-cbf6-4951-9531-9e94355ed02e" providerId="ADAL" clId="{F6015943-1F95-44E4-B328-9D750B0E70FF}" dt="2026-05-15T10:03:49.984" v="1021" actId="14100"/>
          <ac:spMkLst>
            <pc:docMk/>
            <pc:sldMk cId="1008475197" sldId="274"/>
            <ac:spMk id="23" creationId="{456C9D92-2982-10D4-CC75-2BC3609F4581}"/>
          </ac:spMkLst>
        </pc:spChg>
        <pc:spChg chg="mod">
          <ac:chgData name="Streltsov, Alexander /RU" userId="3270c589-cbf6-4951-9531-9e94355ed02e" providerId="ADAL" clId="{F6015943-1F95-44E4-B328-9D750B0E70FF}" dt="2026-05-15T10:04:04.475" v="1025" actId="14100"/>
          <ac:spMkLst>
            <pc:docMk/>
            <pc:sldMk cId="1008475197" sldId="274"/>
            <ac:spMk id="25" creationId="{1BC97161-AF39-C111-3120-FC7B7FF47444}"/>
          </ac:spMkLst>
        </pc:spChg>
        <pc:spChg chg="mod">
          <ac:chgData name="Streltsov, Alexander /RU" userId="3270c589-cbf6-4951-9531-9e94355ed02e" providerId="ADAL" clId="{F6015943-1F95-44E4-B328-9D750B0E70FF}" dt="2026-05-15T10:04:17.648" v="1027" actId="14100"/>
          <ac:spMkLst>
            <pc:docMk/>
            <pc:sldMk cId="1008475197" sldId="274"/>
            <ac:spMk id="27" creationId="{1631639F-FAEC-A7FA-B387-BB7660C778D9}"/>
          </ac:spMkLst>
        </pc:spChg>
        <pc:spChg chg="mod">
          <ac:chgData name="Streltsov, Alexander /RU" userId="3270c589-cbf6-4951-9531-9e94355ed02e" providerId="ADAL" clId="{F6015943-1F95-44E4-B328-9D750B0E70FF}" dt="2026-05-15T09:38:34.677" v="587" actId="20577"/>
          <ac:spMkLst>
            <pc:docMk/>
            <pc:sldMk cId="1008475197" sldId="274"/>
            <ac:spMk id="40" creationId="{03DE80E3-2C57-1A56-43CB-3214B3D7FCE6}"/>
          </ac:spMkLst>
        </pc:spChg>
        <pc:spChg chg="mod">
          <ac:chgData name="Streltsov, Alexander /RU" userId="3270c589-cbf6-4951-9531-9e94355ed02e" providerId="ADAL" clId="{F6015943-1F95-44E4-B328-9D750B0E70FF}" dt="2026-05-15T09:38:44.824" v="601" actId="20577"/>
          <ac:spMkLst>
            <pc:docMk/>
            <pc:sldMk cId="1008475197" sldId="274"/>
            <ac:spMk id="53" creationId="{EEE2101C-2A81-8919-1EEE-A0787BC2010A}"/>
          </ac:spMkLst>
        </pc:spChg>
        <pc:spChg chg="mod">
          <ac:chgData name="Streltsov, Alexander /RU" userId="3270c589-cbf6-4951-9531-9e94355ed02e" providerId="ADAL" clId="{F6015943-1F95-44E4-B328-9D750B0E70FF}" dt="2026-05-15T09:38:52.880" v="615" actId="20577"/>
          <ac:spMkLst>
            <pc:docMk/>
            <pc:sldMk cId="1008475197" sldId="274"/>
            <ac:spMk id="56" creationId="{70AA50EB-2ADB-6C57-5E1E-22CF9DEDEDE8}"/>
          </ac:spMkLst>
        </pc:spChg>
      </pc:sldChg>
      <pc:sldChg chg="del">
        <pc:chgData name="Streltsov, Alexander /RU" userId="3270c589-cbf6-4951-9531-9e94355ed02e" providerId="ADAL" clId="{F6015943-1F95-44E4-B328-9D750B0E70FF}" dt="2026-05-15T09:49:21.946" v="773" actId="47"/>
        <pc:sldMkLst>
          <pc:docMk/>
          <pc:sldMk cId="538263580" sldId="2147479721"/>
        </pc:sldMkLst>
      </pc:sldChg>
      <pc:sldChg chg="addSp delSp modSp mod setBg modClrScheme chgLayout">
        <pc:chgData name="Streltsov, Alexander /RU" userId="3270c589-cbf6-4951-9531-9e94355ed02e" providerId="ADAL" clId="{F6015943-1F95-44E4-B328-9D750B0E70FF}" dt="2026-05-15T10:16:17.395" v="1081" actId="700"/>
        <pc:sldMkLst>
          <pc:docMk/>
          <pc:sldMk cId="424443468" sldId="2147480287"/>
        </pc:sldMkLst>
        <pc:spChg chg="add mod">
          <ac:chgData name="Streltsov, Alexander /RU" userId="3270c589-cbf6-4951-9531-9e94355ed02e" providerId="ADAL" clId="{F6015943-1F95-44E4-B328-9D750B0E70FF}" dt="2026-05-15T09:56:35.626" v="873" actId="1076"/>
          <ac:spMkLst>
            <pc:docMk/>
            <pc:sldMk cId="424443468" sldId="2147480287"/>
            <ac:spMk id="2" creationId="{91F509E3-5148-6754-13E6-F5F8DEF3D3E5}"/>
          </ac:spMkLst>
        </pc:spChg>
        <pc:spChg chg="add mod">
          <ac:chgData name="Streltsov, Alexander /RU" userId="3270c589-cbf6-4951-9531-9e94355ed02e" providerId="ADAL" clId="{F6015943-1F95-44E4-B328-9D750B0E70FF}" dt="2026-05-15T09:46:49.999" v="726"/>
          <ac:spMkLst>
            <pc:docMk/>
            <pc:sldMk cId="424443468" sldId="2147480287"/>
            <ac:spMk id="3" creationId="{EAEF2AAF-F927-2D86-E1EA-411EFC7E63A9}"/>
          </ac:spMkLst>
        </pc:spChg>
        <pc:spChg chg="mod">
          <ac:chgData name="Streltsov, Alexander /RU" userId="3270c589-cbf6-4951-9531-9e94355ed02e" providerId="ADAL" clId="{F6015943-1F95-44E4-B328-9D750B0E70FF}" dt="2026-05-15T09:56:41.935" v="874" actId="14100"/>
          <ac:spMkLst>
            <pc:docMk/>
            <pc:sldMk cId="424443468" sldId="2147480287"/>
            <ac:spMk id="4" creationId="{2B8780B9-EB3F-78DD-CD36-6093E9202AD7}"/>
          </ac:spMkLst>
        </pc:spChg>
        <pc:spChg chg="mod ord">
          <ac:chgData name="Streltsov, Alexander /RU" userId="3270c589-cbf6-4951-9531-9e94355ed02e" providerId="ADAL" clId="{F6015943-1F95-44E4-B328-9D750B0E70FF}" dt="2026-05-15T10:16:17.395" v="1081" actId="700"/>
          <ac:spMkLst>
            <pc:docMk/>
            <pc:sldMk cId="424443468" sldId="2147480287"/>
            <ac:spMk id="7" creationId="{CD32E411-EB65-4AB3-0789-84B76E3EA419}"/>
          </ac:spMkLst>
        </pc:spChg>
        <pc:spChg chg="mod">
          <ac:chgData name="Streltsov, Alexander /RU" userId="3270c589-cbf6-4951-9531-9e94355ed02e" providerId="ADAL" clId="{F6015943-1F95-44E4-B328-9D750B0E70FF}" dt="2026-05-15T09:56:49.445" v="875" actId="14100"/>
          <ac:spMkLst>
            <pc:docMk/>
            <pc:sldMk cId="424443468" sldId="2147480287"/>
            <ac:spMk id="11" creationId="{FA505666-EFEF-2DE7-4EF1-AEB674040AB7}"/>
          </ac:spMkLst>
        </pc:spChg>
        <pc:spChg chg="mod">
          <ac:chgData name="Streltsov, Alexander /RU" userId="3270c589-cbf6-4951-9531-9e94355ed02e" providerId="ADAL" clId="{F6015943-1F95-44E4-B328-9D750B0E70FF}" dt="2026-05-15T09:48:44.817" v="772" actId="20577"/>
          <ac:spMkLst>
            <pc:docMk/>
            <pc:sldMk cId="424443468" sldId="2147480287"/>
            <ac:spMk id="17" creationId="{391A3BF8-9FE2-1617-E6BF-4981E6FC1A2C}"/>
          </ac:spMkLst>
        </pc:spChg>
        <pc:spChg chg="del">
          <ac:chgData name="Streltsov, Alexander /RU" userId="3270c589-cbf6-4951-9531-9e94355ed02e" providerId="ADAL" clId="{F6015943-1F95-44E4-B328-9D750B0E70FF}" dt="2026-05-15T09:44:07.120" v="722" actId="478"/>
          <ac:spMkLst>
            <pc:docMk/>
            <pc:sldMk cId="424443468" sldId="2147480287"/>
            <ac:spMk id="37" creationId="{642BB0D6-B5CD-72A8-2D12-8C70A8EEB511}"/>
          </ac:spMkLst>
        </pc:spChg>
        <pc:spChg chg="mod">
          <ac:chgData name="Streltsov, Alexander /RU" userId="3270c589-cbf6-4951-9531-9e94355ed02e" providerId="ADAL" clId="{F6015943-1F95-44E4-B328-9D750B0E70FF}" dt="2026-05-15T09:56:10.197" v="868" actId="120"/>
          <ac:spMkLst>
            <pc:docMk/>
            <pc:sldMk cId="424443468" sldId="2147480287"/>
            <ac:spMk id="42" creationId="{B2096936-9ADF-3070-7857-5FF2BEB6C686}"/>
          </ac:spMkLst>
        </pc:spChg>
        <pc:picChg chg="add mod">
          <ac:chgData name="Streltsov, Alexander /RU" userId="3270c589-cbf6-4951-9531-9e94355ed02e" providerId="ADAL" clId="{F6015943-1F95-44E4-B328-9D750B0E70FF}" dt="2026-05-15T09:57:43.691" v="877" actId="1076"/>
          <ac:picMkLst>
            <pc:docMk/>
            <pc:sldMk cId="424443468" sldId="2147480287"/>
            <ac:picMk id="8" creationId="{2AE1860E-5598-81D2-E75B-81FE9248C19B}"/>
          </ac:picMkLst>
        </pc:picChg>
      </pc:sldChg>
      <pc:sldChg chg="modSp mod modClrScheme chgLayout">
        <pc:chgData name="Streltsov, Alexander /RU" userId="3270c589-cbf6-4951-9531-9e94355ed02e" providerId="ADAL" clId="{F6015943-1F95-44E4-B328-9D750B0E70FF}" dt="2026-05-15T10:17:44.464" v="1108" actId="700"/>
        <pc:sldMkLst>
          <pc:docMk/>
          <pc:sldMk cId="4244581738" sldId="2147480305"/>
        </pc:sldMkLst>
        <pc:spChg chg="mod">
          <ac:chgData name="Streltsov, Alexander /RU" userId="3270c589-cbf6-4951-9531-9e94355ed02e" providerId="ADAL" clId="{F6015943-1F95-44E4-B328-9D750B0E70FF}" dt="2026-05-15T09:55:45.137" v="867" actId="1076"/>
          <ac:spMkLst>
            <pc:docMk/>
            <pc:sldMk cId="4244581738" sldId="2147480305"/>
            <ac:spMk id="2" creationId="{287F07F2-5B67-A347-BC60-252520176175}"/>
          </ac:spMkLst>
        </pc:spChg>
        <pc:spChg chg="mod">
          <ac:chgData name="Streltsov, Alexander /RU" userId="3270c589-cbf6-4951-9531-9e94355ed02e" providerId="ADAL" clId="{F6015943-1F95-44E4-B328-9D750B0E70FF}" dt="2026-05-15T09:55:30.259" v="852" actId="14100"/>
          <ac:spMkLst>
            <pc:docMk/>
            <pc:sldMk cId="4244581738" sldId="2147480305"/>
            <ac:spMk id="3" creationId="{E3555C4D-8832-DE57-FF07-319A90C0D76D}"/>
          </ac:spMkLst>
        </pc:spChg>
        <pc:spChg chg="mod">
          <ac:chgData name="Streltsov, Alexander /RU" userId="3270c589-cbf6-4951-9531-9e94355ed02e" providerId="ADAL" clId="{F6015943-1F95-44E4-B328-9D750B0E70FF}" dt="2026-05-15T09:34:55.614" v="355" actId="6549"/>
          <ac:spMkLst>
            <pc:docMk/>
            <pc:sldMk cId="4244581738" sldId="2147480305"/>
            <ac:spMk id="4" creationId="{91B6D842-8116-CEDD-7E66-A40DE943029C}"/>
          </ac:spMkLst>
        </pc:spChg>
        <pc:spChg chg="mod">
          <ac:chgData name="Streltsov, Alexander /RU" userId="3270c589-cbf6-4951-9531-9e94355ed02e" providerId="ADAL" clId="{F6015943-1F95-44E4-B328-9D750B0E70FF}" dt="2026-05-15T10:08:13.976" v="1078" actId="1037"/>
          <ac:spMkLst>
            <pc:docMk/>
            <pc:sldMk cId="4244581738" sldId="2147480305"/>
            <ac:spMk id="9" creationId="{7DC1E5CC-692D-6DD8-993B-C41B1275D6B4}"/>
          </ac:spMkLst>
        </pc:spChg>
        <pc:spChg chg="mod">
          <ac:chgData name="Streltsov, Alexander /RU" userId="3270c589-cbf6-4951-9531-9e94355ed02e" providerId="ADAL" clId="{F6015943-1F95-44E4-B328-9D750B0E70FF}" dt="2026-05-15T09:55:16.755" v="850" actId="1076"/>
          <ac:spMkLst>
            <pc:docMk/>
            <pc:sldMk cId="4244581738" sldId="2147480305"/>
            <ac:spMk id="12" creationId="{1512A47A-9A78-1353-8DEE-BFF2D5A395BF}"/>
          </ac:spMkLst>
        </pc:spChg>
        <pc:spChg chg="mod">
          <ac:chgData name="Streltsov, Alexander /RU" userId="3270c589-cbf6-4951-9531-9e94355ed02e" providerId="ADAL" clId="{F6015943-1F95-44E4-B328-9D750B0E70FF}" dt="2026-05-15T09:55:26.881" v="851" actId="14100"/>
          <ac:spMkLst>
            <pc:docMk/>
            <pc:sldMk cId="4244581738" sldId="2147480305"/>
            <ac:spMk id="13" creationId="{805D197C-2F90-4866-BE82-F18F0085271F}"/>
          </ac:spMkLst>
        </pc:spChg>
        <pc:spChg chg="mod">
          <ac:chgData name="Streltsov, Alexander /RU" userId="3270c589-cbf6-4951-9531-9e94355ed02e" providerId="ADAL" clId="{F6015943-1F95-44E4-B328-9D750B0E70FF}" dt="2026-05-15T09:32:32.838" v="78" actId="20577"/>
          <ac:spMkLst>
            <pc:docMk/>
            <pc:sldMk cId="4244581738" sldId="2147480305"/>
            <ac:spMk id="27" creationId="{1631639F-FAEC-A7FA-B387-BB7660C778D9}"/>
          </ac:spMkLst>
        </pc:spChg>
        <pc:spChg chg="mod">
          <ac:chgData name="Streltsov, Alexander /RU" userId="3270c589-cbf6-4951-9531-9e94355ed02e" providerId="ADAL" clId="{F6015943-1F95-44E4-B328-9D750B0E70FF}" dt="2026-05-15T09:55:36.763" v="866" actId="1036"/>
          <ac:spMkLst>
            <pc:docMk/>
            <pc:sldMk cId="4244581738" sldId="2147480305"/>
            <ac:spMk id="30" creationId="{D44712F7-07E2-10E7-0D7F-F299745B426B}"/>
          </ac:spMkLst>
        </pc:spChg>
      </pc:sldChg>
      <pc:sldChg chg="modSp mod modClrScheme chgLayout">
        <pc:chgData name="Streltsov, Alexander /RU" userId="3270c589-cbf6-4951-9531-9e94355ed02e" providerId="ADAL" clId="{F6015943-1F95-44E4-B328-9D750B0E70FF}" dt="2026-05-15T09:52:24.252" v="829" actId="207"/>
        <pc:sldMkLst>
          <pc:docMk/>
          <pc:sldMk cId="1164302257" sldId="2147480588"/>
        </pc:sldMkLst>
        <pc:spChg chg="mod ord">
          <ac:chgData name="Streltsov, Alexander /RU" userId="3270c589-cbf6-4951-9531-9e94355ed02e" providerId="ADAL" clId="{F6015943-1F95-44E4-B328-9D750B0E70FF}" dt="2026-05-15T09:52:24.252" v="829" actId="207"/>
          <ac:spMkLst>
            <pc:docMk/>
            <pc:sldMk cId="1164302257" sldId="2147480588"/>
            <ac:spMk id="3" creationId="{6D4A0C77-3ED9-B74C-8823-30518515F482}"/>
          </ac:spMkLst>
        </pc:spChg>
      </pc:sldChg>
      <pc:sldChg chg="modSp mod setBg modClrScheme chgLayout">
        <pc:chgData name="Streltsov, Alexander /RU" userId="3270c589-cbf6-4951-9531-9e94355ed02e" providerId="ADAL" clId="{F6015943-1F95-44E4-B328-9D750B0E70FF}" dt="2026-05-15T10:17:28.393" v="1106" actId="1038"/>
        <pc:sldMkLst>
          <pc:docMk/>
          <pc:sldMk cId="1891601508" sldId="2147483643"/>
        </pc:sldMkLst>
        <pc:spChg chg="mod ord">
          <ac:chgData name="Streltsov, Alexander /RU" userId="3270c589-cbf6-4951-9531-9e94355ed02e" providerId="ADAL" clId="{F6015943-1F95-44E4-B328-9D750B0E70FF}" dt="2026-05-15T10:17:28.393" v="1106" actId="1038"/>
          <ac:spMkLst>
            <pc:docMk/>
            <pc:sldMk cId="1891601508" sldId="2147483643"/>
            <ac:spMk id="7" creationId="{C615F577-4306-09E4-97EB-B40164483FB4}"/>
          </ac:spMkLst>
        </pc:spChg>
      </pc:sldChg>
      <pc:sldChg chg="addSp delSp modSp mod setBg modClrScheme addAnim delAnim chgLayout">
        <pc:chgData name="Streltsov, Alexander /RU" userId="3270c589-cbf6-4951-9531-9e94355ed02e" providerId="ADAL" clId="{F6015943-1F95-44E4-B328-9D750B0E70FF}" dt="2026-05-15T10:16:11.591" v="1080" actId="700"/>
        <pc:sldMkLst>
          <pc:docMk/>
          <pc:sldMk cId="467021188" sldId="2147483646"/>
        </pc:sldMkLst>
        <pc:spChg chg="add del mod ord">
          <ac:chgData name="Streltsov, Alexander /RU" userId="3270c589-cbf6-4951-9531-9e94355ed02e" providerId="ADAL" clId="{F6015943-1F95-44E4-B328-9D750B0E70FF}" dt="2026-05-15T09:50:46.442" v="776" actId="478"/>
          <ac:spMkLst>
            <pc:docMk/>
            <pc:sldMk cId="467021188" sldId="2147483646"/>
            <ac:spMk id="2" creationId="{40294612-3885-730E-B28C-2F890185C77A}"/>
          </ac:spMkLst>
        </pc:spChg>
        <pc:spChg chg="add del mod ord">
          <ac:chgData name="Streltsov, Alexander /RU" userId="3270c589-cbf6-4951-9531-9e94355ed02e" providerId="ADAL" clId="{F6015943-1F95-44E4-B328-9D750B0E70FF}" dt="2026-05-15T09:50:57.934" v="781" actId="478"/>
          <ac:spMkLst>
            <pc:docMk/>
            <pc:sldMk cId="467021188" sldId="2147483646"/>
            <ac:spMk id="3" creationId="{8C497F44-5ED7-7D2A-0852-9E2450D74291}"/>
          </ac:spMkLst>
        </pc:spChg>
        <pc:spChg chg="add del mod ord">
          <ac:chgData name="Streltsov, Alexander /RU" userId="3270c589-cbf6-4951-9531-9e94355ed02e" providerId="ADAL" clId="{F6015943-1F95-44E4-B328-9D750B0E70FF}" dt="2026-05-15T09:50:55.174" v="780" actId="478"/>
          <ac:spMkLst>
            <pc:docMk/>
            <pc:sldMk cId="467021188" sldId="2147483646"/>
            <ac:spMk id="4" creationId="{71C11442-8417-6499-A764-9188112FF674}"/>
          </ac:spMkLst>
        </pc:spChg>
        <pc:spChg chg="add del mod ord">
          <ac:chgData name="Streltsov, Alexander /RU" userId="3270c589-cbf6-4951-9531-9e94355ed02e" providerId="ADAL" clId="{F6015943-1F95-44E4-B328-9D750B0E70FF}" dt="2026-05-15T09:50:47.824" v="777" actId="478"/>
          <ac:spMkLst>
            <pc:docMk/>
            <pc:sldMk cId="467021188" sldId="2147483646"/>
            <ac:spMk id="5" creationId="{3E4A60AA-939C-B422-2428-5EEB00398693}"/>
          </ac:spMkLst>
        </pc:spChg>
        <pc:spChg chg="add del mod">
          <ac:chgData name="Streltsov, Alexander /RU" userId="3270c589-cbf6-4951-9531-9e94355ed02e" providerId="ADAL" clId="{F6015943-1F95-44E4-B328-9D750B0E70FF}" dt="2026-05-15T10:06:14.695" v="1067" actId="20577"/>
          <ac:spMkLst>
            <pc:docMk/>
            <pc:sldMk cId="467021188" sldId="2147483646"/>
            <ac:spMk id="17" creationId="{14603110-BEA1-6A2E-E470-11954B4B5E0F}"/>
          </ac:spMkLst>
        </pc:spChg>
        <pc:spChg chg="mod">
          <ac:chgData name="Streltsov, Alexander /RU" userId="3270c589-cbf6-4951-9531-9e94355ed02e" providerId="ADAL" clId="{F6015943-1F95-44E4-B328-9D750B0E70FF}" dt="2026-05-15T09:42:36.614" v="684" actId="1036"/>
          <ac:spMkLst>
            <pc:docMk/>
            <pc:sldMk cId="467021188" sldId="2147483646"/>
            <ac:spMk id="32" creationId="{8324C77C-32A7-3F06-517D-7B52C60A2A19}"/>
          </ac:spMkLst>
        </pc:spChg>
        <pc:spChg chg="mod">
          <ac:chgData name="Streltsov, Alexander /RU" userId="3270c589-cbf6-4951-9531-9e94355ed02e" providerId="ADAL" clId="{F6015943-1F95-44E4-B328-9D750B0E70FF}" dt="2026-05-15T09:39:22.562" v="672" actId="20577"/>
          <ac:spMkLst>
            <pc:docMk/>
            <pc:sldMk cId="467021188" sldId="2147483646"/>
            <ac:spMk id="59" creationId="{F339829E-C5B2-A88A-63DF-70AA2B0450F6}"/>
          </ac:spMkLst>
        </pc:spChg>
      </pc:sldChg>
      <pc:sldMasterChg chg="setBg modSldLayout">
        <pc:chgData name="Streltsov, Alexander /RU" userId="3270c589-cbf6-4951-9531-9e94355ed02e" providerId="ADAL" clId="{F6015943-1F95-44E4-B328-9D750B0E70FF}" dt="2026-05-15T09:52:49.590" v="831"/>
        <pc:sldMasterMkLst>
          <pc:docMk/>
          <pc:sldMasterMk cId="1891252595" sldId="2147483724"/>
        </pc:sldMasterMkLst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891252595" sldId="2147483724"/>
            <pc:sldLayoutMk cId="1117743634" sldId="2147483725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891252595" sldId="2147483724"/>
            <pc:sldLayoutMk cId="3332288188" sldId="2147483890"/>
          </pc:sldLayoutMkLst>
        </pc:sldLayoutChg>
      </pc:sldMasterChg>
      <pc:sldMasterChg chg="setBg modSldLayout">
        <pc:chgData name="Streltsov, Alexander /RU" userId="3270c589-cbf6-4951-9531-9e94355ed02e" providerId="ADAL" clId="{F6015943-1F95-44E4-B328-9D750B0E70FF}" dt="2026-05-15T09:52:49.590" v="831"/>
        <pc:sldMasterMkLst>
          <pc:docMk/>
          <pc:sldMasterMk cId="3117668384" sldId="2147483726"/>
        </pc:sldMasterMkLst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3117668384" sldId="2147483726"/>
            <pc:sldLayoutMk cId="2075200088" sldId="2147483727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3117668384" sldId="2147483726"/>
            <pc:sldLayoutMk cId="3191621378" sldId="2147483728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3117668384" sldId="2147483726"/>
            <pc:sldLayoutMk cId="1705065834" sldId="2147483729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3117668384" sldId="2147483726"/>
            <pc:sldLayoutMk cId="251446025" sldId="2147483730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3117668384" sldId="2147483726"/>
            <pc:sldLayoutMk cId="85144880" sldId="2147483731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3117668384" sldId="2147483726"/>
            <pc:sldLayoutMk cId="3795343313" sldId="2147483966"/>
          </pc:sldLayoutMkLst>
        </pc:sldLayoutChg>
      </pc:sldMasterChg>
      <pc:sldMasterChg chg="setBg modSldLayout">
        <pc:chgData name="Streltsov, Alexander /RU" userId="3270c589-cbf6-4951-9531-9e94355ed02e" providerId="ADAL" clId="{F6015943-1F95-44E4-B328-9D750B0E70FF}" dt="2026-05-15T09:52:49.590" v="831"/>
        <pc:sldMasterMkLst>
          <pc:docMk/>
          <pc:sldMasterMk cId="2817883552" sldId="2147483732"/>
        </pc:sldMasterMkLst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2051041454" sldId="2147483733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1426629101" sldId="2147483734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1292618706" sldId="2147483735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127353893" sldId="2147483736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1138595179" sldId="2147483737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330424440" sldId="2147483738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3945089923" sldId="2147483739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2881126905" sldId="2147483740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433369803" sldId="2147483741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2527099917" sldId="2147483742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4036886702" sldId="2147483743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4208106770" sldId="2147483744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3388231253" sldId="2147483745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168793459" sldId="2147483746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3575819769" sldId="2147483747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590690808" sldId="2147483748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2000391379" sldId="2147483749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3958746652" sldId="2147483750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817883552" sldId="2147483732"/>
            <pc:sldLayoutMk cId="221700715" sldId="2147483751"/>
          </pc:sldLayoutMkLst>
        </pc:sldLayoutChg>
      </pc:sldMasterChg>
      <pc:sldMasterChg chg="setBg modSldLayout">
        <pc:chgData name="Streltsov, Alexander /RU" userId="3270c589-cbf6-4951-9531-9e94355ed02e" providerId="ADAL" clId="{F6015943-1F95-44E4-B328-9D750B0E70FF}" dt="2026-05-15T09:52:49.590" v="831"/>
        <pc:sldMasterMkLst>
          <pc:docMk/>
          <pc:sldMasterMk cId="1598093590" sldId="2147483752"/>
        </pc:sldMasterMkLst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1490947256" sldId="2147483753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742216854" sldId="2147483754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950385021" sldId="2147483755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2751918725" sldId="2147483756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81285781" sldId="2147483757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873884483" sldId="2147483758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559561507" sldId="2147483759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453125926" sldId="2147483760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825241644" sldId="2147483761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4251323460" sldId="2147483762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640988029" sldId="2147483763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2264002668" sldId="2147483764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622724265" sldId="2147483765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2061464427" sldId="2147483766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709885202" sldId="2147483767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54881886" sldId="2147483768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4286577792" sldId="2147483769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1694212696" sldId="2147483770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804448311" sldId="2147483771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1849963610" sldId="2147483772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518973865" sldId="2147483773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768899590" sldId="2147483774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215929039" sldId="2147483775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918900683" sldId="2147483776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2937429602" sldId="2147483777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2576618059" sldId="2147483778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1796036986" sldId="2147483779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610047138" sldId="2147483780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809618110" sldId="2147483781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362644126" sldId="2147483782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2661341000" sldId="2147483783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4130104175" sldId="2147483784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711598938" sldId="2147483785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286404296" sldId="2147483786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1598093590" sldId="2147483752"/>
            <pc:sldLayoutMk cId="3361536071" sldId="2147483787"/>
          </pc:sldLayoutMkLst>
        </pc:sldLayoutChg>
      </pc:sldMasterChg>
      <pc:sldMasterChg chg="setBg modSldLayout">
        <pc:chgData name="Streltsov, Alexander /RU" userId="3270c589-cbf6-4951-9531-9e94355ed02e" providerId="ADAL" clId="{F6015943-1F95-44E4-B328-9D750B0E70FF}" dt="2026-05-15T09:52:49.590" v="831"/>
        <pc:sldMasterMkLst>
          <pc:docMk/>
          <pc:sldMasterMk cId="2067838021" sldId="2147483788"/>
        </pc:sldMasterMkLst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067838021" sldId="2147483788"/>
            <pc:sldLayoutMk cId="4169511401" sldId="2147483789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067838021" sldId="2147483788"/>
            <pc:sldLayoutMk cId="3047609355" sldId="2147483790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067838021" sldId="2147483788"/>
            <pc:sldLayoutMk cId="1151031598" sldId="2147483791"/>
          </pc:sldLayoutMkLst>
        </pc:sldLayoutChg>
        <pc:sldLayoutChg chg="setBg">
          <pc:chgData name="Streltsov, Alexander /RU" userId="3270c589-cbf6-4951-9531-9e94355ed02e" providerId="ADAL" clId="{F6015943-1F95-44E4-B328-9D750B0E70FF}" dt="2026-05-15T09:52:49.590" v="831"/>
          <pc:sldLayoutMkLst>
            <pc:docMk/>
            <pc:sldMasterMk cId="2067838021" sldId="2147483788"/>
            <pc:sldLayoutMk cId="2629551354" sldId="2147483792"/>
          </pc:sldLayoutMkLst>
        </pc:sldLayoutChg>
      </pc:sldMasterChg>
      <pc:sldMasterChg chg="del setBg delSldLayout modSldLayout">
        <pc:chgData name="Streltsov, Alexander /RU" userId="3270c589-cbf6-4951-9531-9e94355ed02e" providerId="ADAL" clId="{F6015943-1F95-44E4-B328-9D750B0E70FF}" dt="2026-05-15T10:17:09.452" v="1082" actId="700"/>
        <pc:sldMasterMkLst>
          <pc:docMk/>
          <pc:sldMasterMk cId="2862229507" sldId="2147483793"/>
        </pc:sldMasterMkLst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718080399" sldId="214748379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142063073" sldId="214748379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853327727" sldId="2147483796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982663027" sldId="2147483797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328260904" sldId="2147483798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146278538" sldId="2147483799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09074651" sldId="2147483800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470455972" sldId="2147483801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1946359137" sldId="214748380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4008059922" sldId="2147483803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567143033" sldId="214748380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504643369" sldId="214748380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800061982" sldId="2147483806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786147232" sldId="2147483807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768583843" sldId="2147483808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806076087" sldId="2147483809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1738337961" sldId="2147483810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469165928" sldId="2147483811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496428988" sldId="214748381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1865205866" sldId="2147483813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214824873" sldId="214748381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1922773607" sldId="214748381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877733653" sldId="2147483816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6435506" sldId="2147483817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164712237" sldId="2147483818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979236919" sldId="2147483819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681447594" sldId="2147483820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660813316" sldId="2147483821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602649030" sldId="214748382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4271929203" sldId="2147483823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831423800" sldId="214748382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547335125" sldId="214748382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442447523" sldId="2147483826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826144531" sldId="2147483827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997391195" sldId="2147483828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1786517051" sldId="2147483829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920540155" sldId="2147483830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4010759094" sldId="2147483831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316501329" sldId="214748383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371175041" sldId="2147483833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591254101" sldId="214748383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820054893" sldId="214748383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1216957407" sldId="2147483836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358333908" sldId="2147483837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300276687" sldId="2147483838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437970245" sldId="2147483839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2927158655" sldId="2147483840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475570877" sldId="2147483841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404109646" sldId="214748384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7:09.452" v="1082" actId="700"/>
          <pc:sldLayoutMkLst>
            <pc:docMk/>
            <pc:sldMasterMk cId="2862229507" sldId="2147483793"/>
            <pc:sldLayoutMk cId="3792192577" sldId="2147483843"/>
          </pc:sldLayoutMkLst>
        </pc:sldLayoutChg>
      </pc:sldMasterChg>
      <pc:sldMasterChg chg="del setBg delSldLayout modSldLayout">
        <pc:chgData name="Streltsov, Alexander /RU" userId="3270c589-cbf6-4951-9531-9e94355ed02e" providerId="ADAL" clId="{F6015943-1F95-44E4-B328-9D750B0E70FF}" dt="2026-05-15T10:15:52.597" v="1079" actId="700"/>
        <pc:sldMasterMkLst>
          <pc:docMk/>
          <pc:sldMasterMk cId="821814696" sldId="2147483891"/>
        </pc:sldMasterMkLst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710659548" sldId="214748389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371346475" sldId="2147483893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818217902" sldId="214748389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638848213" sldId="214748389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83428691" sldId="2147483896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957538998" sldId="2147483897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86902319" sldId="2147483898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76312800" sldId="2147483899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457227167" sldId="2147483900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211314458" sldId="2147483901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349622226" sldId="214748390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680060150" sldId="2147483903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699747862" sldId="214748390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507075719" sldId="214748390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875294679" sldId="2147483906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4022900339" sldId="2147483907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550858753" sldId="2147483908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271877642" sldId="2147483909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060765412" sldId="2147483910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70585482" sldId="2147483911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422789726" sldId="214748391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920617251" sldId="2147483913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57915394" sldId="214748391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646369959" sldId="214748391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776262871" sldId="2147483916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4148252182" sldId="2147483917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137324875" sldId="2147483918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18392827" sldId="2147483919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031023945" sldId="2147483920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678185440" sldId="2147483921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892896886" sldId="214748392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712709408" sldId="2147483923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4267638209" sldId="214748392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371808198" sldId="214748392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962650778" sldId="2147483926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005259611" sldId="2147483927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484318928" sldId="2147483928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723084247" sldId="2147483929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771654196" sldId="2147483930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833215420" sldId="2147483931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383007424" sldId="2147483932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413721978" sldId="2147483933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1931700842" sldId="2147483934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34750772" sldId="2147483935"/>
          </pc:sldLayoutMkLst>
        </pc:sldLayoutChg>
        <pc:sldLayoutChg chg="del setBg">
          <pc:chgData name="Streltsov, Alexander /RU" userId="3270c589-cbf6-4951-9531-9e94355ed02e" providerId="ADAL" clId="{F6015943-1F95-44E4-B328-9D750B0E70FF}" dt="2026-05-15T10:15:52.597" v="1079" actId="700"/>
          <pc:sldLayoutMkLst>
            <pc:docMk/>
            <pc:sldMasterMk cId="821814696" sldId="2147483891"/>
            <pc:sldLayoutMk cId="2609005378" sldId="2147483936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728ED86-7BEE-D964-7A8C-BBBDCC662C5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>
              <a:latin typeface="Sanofi Sans" panose="02010503030201020103" pitchFamily="2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450BC1-6B1D-C2E1-DACD-7573F9DD40D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7A6E53-4B9C-43DA-A1C9-F81BDF8D6935}" type="datetimeFigureOut">
              <a:rPr lang="fr-FR" smtClean="0">
                <a:latin typeface="Sanofi Sans" panose="02010503030201020103" pitchFamily="2" charset="77"/>
              </a:rPr>
              <a:t>22/05/2026</a:t>
            </a:fld>
            <a:endParaRPr lang="fr-FR" dirty="0">
              <a:latin typeface="Sanofi Sans" panose="02010503030201020103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AA72D-315C-BAE4-EE9E-376B169E46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Sanofi Sans" panose="02010503030201020103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F828CA-B3AD-62E8-B95C-93D166ACE48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E330A9-43B1-4818-B4E7-3FAC84E165AF}" type="slidenum">
              <a:rPr lang="fr-FR" smtClean="0">
                <a:latin typeface="Sanofi Sans" panose="02010503030201020103" pitchFamily="2" charset="77"/>
              </a:rPr>
              <a:t>‹#›</a:t>
            </a:fld>
            <a:endParaRPr lang="fr-FR" dirty="0">
              <a:latin typeface="Sanofi Sans" panose="020105030302010201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343091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Sanofi Sans" panose="02010503030201020103" pitchFamily="2" charset="77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Sanofi Sans" panose="02010503030201020103" pitchFamily="2" charset="77"/>
              </a:defRPr>
            </a:lvl1pPr>
          </a:lstStyle>
          <a:p>
            <a:fld id="{328E5D39-C0E6-9542-A3E5-15D0FE92E3E6}" type="datetimeFigureOut">
              <a:rPr lang="fr-FR" smtClean="0"/>
              <a:pPr/>
              <a:t>22/05/2026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52463" y="1143000"/>
            <a:ext cx="55530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Sanofi Sans" panose="02010503030201020103" pitchFamily="2" charset="77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Sanofi Sans" panose="02010503030201020103" pitchFamily="2" charset="77"/>
              </a:defRPr>
            </a:lvl1pPr>
          </a:lstStyle>
          <a:p>
            <a:fld id="{DA3E3B5F-3B2F-4A46-935E-DB516C5516B5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069663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09482" rtl="0" eaLnBrk="1" latinLnBrk="0" hangingPunct="1">
      <a:defRPr sz="1587" b="0" i="0" kern="1200">
        <a:solidFill>
          <a:schemeClr val="tx1"/>
        </a:solidFill>
        <a:latin typeface="Sanofi Sans" panose="02010503030201020103" pitchFamily="2" charset="77"/>
        <a:ea typeface="+mn-ea"/>
        <a:cs typeface="+mn-cs"/>
      </a:defRPr>
    </a:lvl1pPr>
    <a:lvl2pPr marL="604740" algn="l" defTabSz="1209482" rtl="0" eaLnBrk="1" latinLnBrk="0" hangingPunct="1">
      <a:defRPr sz="1587" b="0" i="0" kern="1200">
        <a:solidFill>
          <a:schemeClr val="tx1"/>
        </a:solidFill>
        <a:latin typeface="Sanofi Sans" panose="02010503030201020103" pitchFamily="2" charset="77"/>
        <a:ea typeface="+mn-ea"/>
        <a:cs typeface="+mn-cs"/>
      </a:defRPr>
    </a:lvl2pPr>
    <a:lvl3pPr marL="1209482" algn="l" defTabSz="1209482" rtl="0" eaLnBrk="1" latinLnBrk="0" hangingPunct="1">
      <a:defRPr sz="1587" b="0" i="0" kern="1200">
        <a:solidFill>
          <a:schemeClr val="tx1"/>
        </a:solidFill>
        <a:latin typeface="Sanofi Sans" panose="02010503030201020103" pitchFamily="2" charset="77"/>
        <a:ea typeface="+mn-ea"/>
        <a:cs typeface="+mn-cs"/>
      </a:defRPr>
    </a:lvl3pPr>
    <a:lvl4pPr marL="1814223" algn="l" defTabSz="1209482" rtl="0" eaLnBrk="1" latinLnBrk="0" hangingPunct="1">
      <a:defRPr sz="1587" b="0" i="0" kern="1200">
        <a:solidFill>
          <a:schemeClr val="tx1"/>
        </a:solidFill>
        <a:latin typeface="Sanofi Sans" panose="02010503030201020103" pitchFamily="2" charset="77"/>
        <a:ea typeface="+mn-ea"/>
        <a:cs typeface="+mn-cs"/>
      </a:defRPr>
    </a:lvl4pPr>
    <a:lvl5pPr marL="2418964" algn="l" defTabSz="1209482" rtl="0" eaLnBrk="1" latinLnBrk="0" hangingPunct="1">
      <a:defRPr sz="1587" b="0" i="0" kern="1200">
        <a:solidFill>
          <a:schemeClr val="tx1"/>
        </a:solidFill>
        <a:latin typeface="Sanofi Sans" panose="02010503030201020103" pitchFamily="2" charset="77"/>
        <a:ea typeface="+mn-ea"/>
        <a:cs typeface="+mn-cs"/>
      </a:defRPr>
    </a:lvl5pPr>
    <a:lvl6pPr marL="3023705" algn="l" defTabSz="1209482" rtl="0" eaLnBrk="1" latinLnBrk="0" hangingPunct="1">
      <a:defRPr sz="1587" kern="1200">
        <a:solidFill>
          <a:schemeClr val="tx1"/>
        </a:solidFill>
        <a:latin typeface="+mn-lt"/>
        <a:ea typeface="+mn-ea"/>
        <a:cs typeface="+mn-cs"/>
      </a:defRPr>
    </a:lvl6pPr>
    <a:lvl7pPr marL="3628447" algn="l" defTabSz="1209482" rtl="0" eaLnBrk="1" latinLnBrk="0" hangingPunct="1">
      <a:defRPr sz="1587" kern="1200">
        <a:solidFill>
          <a:schemeClr val="tx1"/>
        </a:solidFill>
        <a:latin typeface="+mn-lt"/>
        <a:ea typeface="+mn-ea"/>
        <a:cs typeface="+mn-cs"/>
      </a:defRPr>
    </a:lvl7pPr>
    <a:lvl8pPr marL="4233187" algn="l" defTabSz="1209482" rtl="0" eaLnBrk="1" latinLnBrk="0" hangingPunct="1">
      <a:defRPr sz="1587" kern="1200">
        <a:solidFill>
          <a:schemeClr val="tx1"/>
        </a:solidFill>
        <a:latin typeface="+mn-lt"/>
        <a:ea typeface="+mn-ea"/>
        <a:cs typeface="+mn-cs"/>
      </a:defRPr>
    </a:lvl8pPr>
    <a:lvl9pPr marL="4837927" algn="l" defTabSz="1209482" rtl="0" eaLnBrk="1" latinLnBrk="0" hangingPunct="1">
      <a:defRPr sz="158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31814-D02F-6D21-942A-0D69C4804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502A2C-ED65-8026-FEA9-101384A79D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52463" y="1143000"/>
            <a:ext cx="5553075" cy="308610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1EFB77-962F-ADC6-115D-1BC21FDE4C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0AF12A-A459-B0E3-E860-3F5055070F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FC885A-940A-C67F-3A05-5A4CC275D73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C6A61-C726-4CAF-979F-CE38B5AE1BC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5.202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1644678E-38A1-5BD1-2594-14A1BDDC2BA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03640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52463" y="1143000"/>
            <a:ext cx="55530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C1130-C300-438F-9C61-A82FE9D651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794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CB390A-470D-3485-9C6D-7BFDE9C2D0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ACEB5E-9EFA-DB14-FD44-74D5B5490F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52463" y="1143000"/>
            <a:ext cx="5553075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70ED2-1F3A-E325-3270-14FE18EA4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4F513F-8236-9206-44BA-FD58FF22AE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4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3E3B5F-3B2F-4A46-935E-DB516C5516B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ofi Sans" panose="02010503030201020103" pitchFamily="2" charset="77"/>
                <a:ea typeface="+mn-ea"/>
                <a:cs typeface="+mn-cs"/>
              </a:rPr>
              <a:pPr marL="0" marR="0" lvl="0" indent="0" algn="r" defTabSz="6047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ofi Sans" panose="02010503030201020103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1912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sv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sv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sv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sv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sv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sv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89F99-D7F3-F669-6572-2C15091730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5650" y="1473200"/>
            <a:ext cx="12149138" cy="3132138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D8A2B9-300B-C7BE-DAEB-9E8AF56380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25650" y="4727575"/>
            <a:ext cx="12149138" cy="21717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1"/>
            </a:lvl1pPr>
            <a:lvl2pPr marL="457222" indent="0" algn="ctr">
              <a:buNone/>
              <a:defRPr sz="2000"/>
            </a:lvl2pPr>
            <a:lvl3pPr marL="914444" indent="0" algn="ctr">
              <a:buNone/>
              <a:defRPr sz="1801"/>
            </a:lvl3pPr>
            <a:lvl4pPr marL="1371664" indent="0" algn="ctr">
              <a:buNone/>
              <a:defRPr sz="1599"/>
            </a:lvl4pPr>
            <a:lvl5pPr marL="1828886" indent="0" algn="ctr">
              <a:buNone/>
              <a:defRPr sz="1599"/>
            </a:lvl5pPr>
            <a:lvl6pPr marL="2286108" indent="0" algn="ctr">
              <a:buNone/>
              <a:defRPr sz="1599"/>
            </a:lvl6pPr>
            <a:lvl7pPr marL="2743330" indent="0" algn="ctr">
              <a:buNone/>
              <a:defRPr sz="1599"/>
            </a:lvl7pPr>
            <a:lvl8pPr marL="3200551" indent="0" algn="ctr">
              <a:buNone/>
              <a:defRPr sz="1599"/>
            </a:lvl8pPr>
            <a:lvl9pPr marL="3657772" indent="0" algn="ctr">
              <a:buNone/>
              <a:defRPr sz="1599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17743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5A94A2B-F619-10C3-BECF-4D8D15CB465C}"/>
              </a:ext>
            </a:extLst>
          </p:cNvPr>
          <p:cNvGrpSpPr/>
          <p:nvPr userDrawn="1"/>
        </p:nvGrpSpPr>
        <p:grpSpPr>
          <a:xfrm>
            <a:off x="3030488" y="3696323"/>
            <a:ext cx="9774712" cy="1355521"/>
            <a:chOff x="1703568" y="2112557"/>
            <a:chExt cx="5517133" cy="77472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E774B25-ECD8-CCD1-AD21-3380B023DA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25285" y="2112557"/>
              <a:ext cx="2495416" cy="774720"/>
            </a:xfrm>
            <a:prstGeom prst="rect">
              <a:avLst/>
            </a:prstGeom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7DB0169-1D11-4AA5-FC12-297B9604C102}"/>
                </a:ext>
              </a:extLst>
            </p:cNvPr>
            <p:cNvCxnSpPr/>
            <p:nvPr userDrawn="1"/>
          </p:nvCxnSpPr>
          <p:spPr>
            <a:xfrm>
              <a:off x="4350300" y="2146572"/>
              <a:ext cx="0" cy="726976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2B7C510-6187-842A-BC5B-3EB5E9DE5A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6548" b="16548"/>
            <a:stretch/>
          </p:blipFill>
          <p:spPr>
            <a:xfrm>
              <a:off x="1703568" y="2133392"/>
              <a:ext cx="2449001" cy="748709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426629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7998078" y="6561219"/>
            <a:ext cx="204286" cy="20031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7998078" y="2031414"/>
            <a:ext cx="204286" cy="20031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32C881-4A7C-F2DB-1F92-32C9711AC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827" y="2535412"/>
            <a:ext cx="12265195" cy="2175936"/>
          </a:xfrm>
        </p:spPr>
        <p:txBody>
          <a:bodyPr>
            <a:noAutofit/>
          </a:bodyPr>
          <a:lstStyle>
            <a:lvl1pPr algn="ctr">
              <a:defRPr sz="7349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57CD9AAA-CCAE-44AF-A224-A38A0B786F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67623" y="4931712"/>
            <a:ext cx="12265195" cy="705945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3500" b="0" i="1" kern="1200" dirty="0">
                <a:solidFill>
                  <a:schemeClr val="accent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87402" indent="0" algn="ctr">
              <a:lnSpc>
                <a:spcPct val="100000"/>
              </a:lnSpc>
              <a:buFont typeface="Arial" panose="020B0604020202020204" pitchFamily="34" charset="0"/>
              <a:buNone/>
              <a:defRPr sz="7349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F176A07A-C4FF-49D0-80C5-1B4F36FB3A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967623" y="5922594"/>
            <a:ext cx="12265195" cy="4046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2450" b="0" i="0" kern="120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08703A-2EC7-4EBC-25D2-46174F00720E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6658955" y="8454683"/>
            <a:ext cx="2882414" cy="291549"/>
          </a:xfrm>
        </p:spPr>
        <p:txBody>
          <a:bodyPr/>
          <a:lstStyle>
            <a:lvl1pPr algn="ctr">
              <a:defRPr/>
            </a:lvl1pPr>
          </a:lstStyle>
          <a:p>
            <a:fld id="{7B6E4200-24F6-4D03-9F35-01A375BA5907}" type="datetime1">
              <a:rPr lang="en-US" smtClean="0"/>
              <a:t>5/22/2026</a:t>
            </a:fld>
            <a:endParaRPr lang="en-US"/>
          </a:p>
        </p:txBody>
      </p:sp>
      <p:pic>
        <p:nvPicPr>
          <p:cNvPr id="11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55693CE1-20E7-D434-5672-8AD54442C2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5055" y="305933"/>
            <a:ext cx="1984176" cy="90375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26187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graphique SmartArt 18">
            <a:extLst>
              <a:ext uri="{FF2B5EF4-FFF2-40B4-BE49-F238E27FC236}">
                <a16:creationId xmlns:a16="http://schemas.microsoft.com/office/drawing/2014/main" id="{50E609C3-EA6F-468A-8B7C-CD27949FB33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7998076" y="6561219"/>
            <a:ext cx="204286" cy="20031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Espace réservé du graphique SmartArt 19">
            <a:extLst>
              <a:ext uri="{FF2B5EF4-FFF2-40B4-BE49-F238E27FC236}">
                <a16:creationId xmlns:a16="http://schemas.microsoft.com/office/drawing/2014/main" id="{F155B637-1E1E-462B-9FBB-56FD4231172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7998076" y="2031414"/>
            <a:ext cx="204286" cy="20031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45A615-DA1F-29AA-A06D-24C5F97B5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7623" y="2527447"/>
            <a:ext cx="12265195" cy="2195088"/>
          </a:xfrm>
        </p:spPr>
        <p:txBody>
          <a:bodyPr/>
          <a:lstStyle>
            <a:lvl1pPr algn="ctr">
              <a:defRPr sz="734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54CCF570-9115-4289-839C-7FACBC619C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67623" y="4931712"/>
            <a:ext cx="12265195" cy="705945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3500" b="0" i="1" kern="1200" dirty="0">
                <a:solidFill>
                  <a:schemeClr val="bg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87402" indent="0" algn="ctr">
              <a:lnSpc>
                <a:spcPct val="100000"/>
              </a:lnSpc>
              <a:buFont typeface="Arial" panose="020B0604020202020204" pitchFamily="34" charset="0"/>
              <a:buNone/>
              <a:defRPr sz="7349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89FD9C7-FB39-4714-81F8-6EA37E5B62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967623" y="5922594"/>
            <a:ext cx="12265195" cy="4046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2450" b="0" i="0" kern="1200" dirty="0">
                <a:solidFill>
                  <a:schemeClr val="bg2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C10403-1F97-E022-7AB9-4F7DAEF42BCE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6658956" y="8446350"/>
            <a:ext cx="2882414" cy="29154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736AE607-E498-40B6-BA25-25F7D03EA726}" type="datetime1">
              <a:rPr lang="en-US" smtClean="0"/>
              <a:t>5/22/2026</a:t>
            </a:fld>
            <a:endParaRPr lang="en-US"/>
          </a:p>
        </p:txBody>
      </p:sp>
      <p:grpSp>
        <p:nvGrpSpPr>
          <p:cNvPr id="3" name="Graphique 7">
            <a:extLst>
              <a:ext uri="{FF2B5EF4-FFF2-40B4-BE49-F238E27FC236}">
                <a16:creationId xmlns:a16="http://schemas.microsoft.com/office/drawing/2014/main" id="{A549BD7B-62F8-942D-EFFC-9F17CCC606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90070" y="662091"/>
            <a:ext cx="1420183" cy="36108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6" name="Forme libre : forme 7">
              <a:extLst>
                <a:ext uri="{FF2B5EF4-FFF2-40B4-BE49-F238E27FC236}">
                  <a16:creationId xmlns:a16="http://schemas.microsoft.com/office/drawing/2014/main" id="{6B747B3A-63E0-329D-84B4-6CA17873A80C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4167"/>
            </a:p>
          </p:txBody>
        </p:sp>
        <p:sp>
          <p:nvSpPr>
            <p:cNvPr id="8" name="Forme libre : forme 8">
              <a:extLst>
                <a:ext uri="{FF2B5EF4-FFF2-40B4-BE49-F238E27FC236}">
                  <a16:creationId xmlns:a16="http://schemas.microsoft.com/office/drawing/2014/main" id="{FCBCDFEE-AF67-6710-1BE6-7698C8FA8585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4167">
                <a:solidFill>
                  <a:schemeClr val="accent2"/>
                </a:solidFill>
              </a:endParaRPr>
            </a:p>
          </p:txBody>
        </p:sp>
        <p:sp>
          <p:nvSpPr>
            <p:cNvPr id="13" name="Forme libre : forme 9">
              <a:extLst>
                <a:ext uri="{FF2B5EF4-FFF2-40B4-BE49-F238E27FC236}">
                  <a16:creationId xmlns:a16="http://schemas.microsoft.com/office/drawing/2014/main" id="{08BF5F21-4E9B-414F-1459-0879B1A47F6C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4167"/>
            </a:p>
          </p:txBody>
        </p:sp>
      </p:grpSp>
    </p:spTree>
    <p:extLst>
      <p:ext uri="{BB962C8B-B14F-4D97-AF65-F5344CB8AC3E}">
        <p14:creationId xmlns:p14="http://schemas.microsoft.com/office/powerpoint/2010/main" val="1273538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with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4F60E46E-0715-41F6-BEAC-C9C998D41D4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2211557" y="1340654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22" name="Espace réservé du graphique SmartArt 11">
            <a:extLst>
              <a:ext uri="{FF2B5EF4-FFF2-40B4-BE49-F238E27FC236}">
                <a16:creationId xmlns:a16="http://schemas.microsoft.com/office/drawing/2014/main" id="{2835F6F0-E601-40E8-8F65-7949A8AA2AF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12211557" y="5810239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" y="0"/>
            <a:ext cx="8470744" cy="8999538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A3477C-D6FC-D7E0-047E-F20105E4F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3659" y="1556225"/>
            <a:ext cx="6577098" cy="2173668"/>
          </a:xfrm>
        </p:spPr>
        <p:txBody>
          <a:bodyPr anchor="b"/>
          <a:lstStyle>
            <a:lvl1pPr algn="ctr">
              <a:defRPr sz="5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14179443-CD99-4560-A70A-CF3E60CA5C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3659" y="3957847"/>
            <a:ext cx="6577098" cy="705945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3500" b="0" i="1" kern="1200" dirty="0">
                <a:solidFill>
                  <a:schemeClr val="accent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87402" indent="0" algn="ctr">
              <a:lnSpc>
                <a:spcPct val="100000"/>
              </a:lnSpc>
              <a:buFont typeface="Arial" panose="020B0604020202020204" pitchFamily="34" charset="0"/>
              <a:buNone/>
              <a:defRPr sz="35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633150E7-212E-42D8-857F-00B727BB0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13659" y="4695790"/>
            <a:ext cx="6577098" cy="1011313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2450" b="0" i="0" kern="120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E3EE7B-08C5-9FC6-8DF8-F70420876831}"/>
              </a:ext>
            </a:extLst>
          </p:cNvPr>
          <p:cNvGrpSpPr/>
          <p:nvPr userDrawn="1"/>
        </p:nvGrpSpPr>
        <p:grpSpPr>
          <a:xfrm>
            <a:off x="9984401" y="7578958"/>
            <a:ext cx="5113601" cy="742286"/>
            <a:chOff x="2059274" y="2112556"/>
            <a:chExt cx="5270756" cy="774722"/>
          </a:xfrm>
        </p:grpSpPr>
        <p:pic>
          <p:nvPicPr>
            <p:cNvPr id="12" name="Picture 1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AE4BA8B-B204-0F38-B360-6458625B49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8FBE2931-D204-1438-787C-5B48CAFD2E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41B9CD1-E246-6247-7CD6-1EC79B86238F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385951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Title with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4F60E46E-0715-41F6-BEAC-C9C998D41D4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2211557" y="1340654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22" name="Espace réservé du graphique SmartArt 11">
            <a:extLst>
              <a:ext uri="{FF2B5EF4-FFF2-40B4-BE49-F238E27FC236}">
                <a16:creationId xmlns:a16="http://schemas.microsoft.com/office/drawing/2014/main" id="{2835F6F0-E601-40E8-8F65-7949A8AA2AF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12211557" y="5810239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" y="0"/>
            <a:ext cx="8470744" cy="8999538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A3477C-D6FC-D7E0-047E-F20105E4F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3659" y="1556225"/>
            <a:ext cx="6577098" cy="2173668"/>
          </a:xfrm>
        </p:spPr>
        <p:txBody>
          <a:bodyPr anchor="b"/>
          <a:lstStyle>
            <a:lvl1pPr algn="ctr">
              <a:defRPr sz="52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14179443-CD99-4560-A70A-CF3E60CA5C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3659" y="3957847"/>
            <a:ext cx="6577098" cy="705945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3500" b="0" i="1" kern="1200" dirty="0">
                <a:solidFill>
                  <a:schemeClr val="bg1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87402" indent="0" algn="ctr">
              <a:lnSpc>
                <a:spcPct val="100000"/>
              </a:lnSpc>
              <a:buFont typeface="Arial" panose="020B0604020202020204" pitchFamily="34" charset="0"/>
              <a:buNone/>
              <a:defRPr sz="35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633150E7-212E-42D8-857F-00B727BB0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13659" y="4695790"/>
            <a:ext cx="6577098" cy="1011313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2450" b="0" i="0" kern="1200" dirty="0">
                <a:solidFill>
                  <a:schemeClr val="bg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3BD43BF-5246-BE4F-BE6D-1BB1058069BB}"/>
              </a:ext>
            </a:extLst>
          </p:cNvPr>
          <p:cNvGrpSpPr/>
          <p:nvPr userDrawn="1"/>
        </p:nvGrpSpPr>
        <p:grpSpPr>
          <a:xfrm>
            <a:off x="9734614" y="7578743"/>
            <a:ext cx="5364950" cy="743992"/>
            <a:chOff x="1703568" y="2112557"/>
            <a:chExt cx="5517133" cy="77472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79D3527-2DD7-64DB-844E-C82F4A5508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25285" y="2112557"/>
              <a:ext cx="2495416" cy="774720"/>
            </a:xfrm>
            <a:prstGeom prst="rect">
              <a:avLst/>
            </a:prstGeom>
          </p:spPr>
        </p:pic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B29032F-3D8A-FC86-DA81-0E82161F5DD1}"/>
                </a:ext>
              </a:extLst>
            </p:cNvPr>
            <p:cNvCxnSpPr/>
            <p:nvPr userDrawn="1"/>
          </p:nvCxnSpPr>
          <p:spPr>
            <a:xfrm>
              <a:off x="4350300" y="2146572"/>
              <a:ext cx="0" cy="726976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E59CC19-3F0F-4EBD-51A1-0CFAE3F18E7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6548" b="16548"/>
            <a:stretch/>
          </p:blipFill>
          <p:spPr>
            <a:xfrm>
              <a:off x="1703568" y="2133392"/>
              <a:ext cx="2449001" cy="748709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304244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with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6AD566-8583-4475-A096-A17760443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89" y="505889"/>
            <a:ext cx="6287400" cy="125977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3DFCED8-0EB4-4E57-BDC7-7349EFC7B9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7360" y="2572245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50" name="Espace réservé du texte 17">
            <a:extLst>
              <a:ext uri="{FF2B5EF4-FFF2-40B4-BE49-F238E27FC236}">
                <a16:creationId xmlns:a16="http://schemas.microsoft.com/office/drawing/2014/main" id="{591A3E6F-3476-47ED-8C55-9EBB33F42A5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1581724" y="2569409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41" name="Espace réservé du texte 17">
            <a:extLst>
              <a:ext uri="{FF2B5EF4-FFF2-40B4-BE49-F238E27FC236}">
                <a16:creationId xmlns:a16="http://schemas.microsoft.com/office/drawing/2014/main" id="{8AFC591C-8E4C-4797-84E6-9ACB86CA696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583297" y="3033178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24" name="Espace réservé du texte 17">
            <a:extLst>
              <a:ext uri="{FF2B5EF4-FFF2-40B4-BE49-F238E27FC236}">
                <a16:creationId xmlns:a16="http://schemas.microsoft.com/office/drawing/2014/main" id="{97091393-5B32-4687-B23A-7838A2A25A2C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87360" y="3612368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7" name="Espace réservé du texte 17">
            <a:extLst>
              <a:ext uri="{FF2B5EF4-FFF2-40B4-BE49-F238E27FC236}">
                <a16:creationId xmlns:a16="http://schemas.microsoft.com/office/drawing/2014/main" id="{4EFDD7E2-57EF-47B5-AF8A-BF6D20E10C4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581724" y="3609531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26" name="Espace réservé du texte 17">
            <a:extLst>
              <a:ext uri="{FF2B5EF4-FFF2-40B4-BE49-F238E27FC236}">
                <a16:creationId xmlns:a16="http://schemas.microsoft.com/office/drawing/2014/main" id="{78A45169-55E0-4EE5-8CBA-8768DBF2F544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583297" y="4073301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28" name="Espace réservé du texte 17">
            <a:extLst>
              <a:ext uri="{FF2B5EF4-FFF2-40B4-BE49-F238E27FC236}">
                <a16:creationId xmlns:a16="http://schemas.microsoft.com/office/drawing/2014/main" id="{075F6C6B-6992-47B7-BC49-F4AC1EE38A88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587360" y="4652492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0" name="Espace réservé du texte 17">
            <a:extLst>
              <a:ext uri="{FF2B5EF4-FFF2-40B4-BE49-F238E27FC236}">
                <a16:creationId xmlns:a16="http://schemas.microsoft.com/office/drawing/2014/main" id="{599CCF3B-6B06-4CAD-8825-545E17FF2ACF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581724" y="4649653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29" name="Espace réservé du texte 17">
            <a:extLst>
              <a:ext uri="{FF2B5EF4-FFF2-40B4-BE49-F238E27FC236}">
                <a16:creationId xmlns:a16="http://schemas.microsoft.com/office/drawing/2014/main" id="{41B2844B-42C8-4FB2-BA00-4038766A4A1D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583297" y="5113424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31" name="Espace réservé du texte 17">
            <a:extLst>
              <a:ext uri="{FF2B5EF4-FFF2-40B4-BE49-F238E27FC236}">
                <a16:creationId xmlns:a16="http://schemas.microsoft.com/office/drawing/2014/main" id="{4A758C59-C8FF-42D2-9532-27C881E50320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587360" y="5694943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3" name="Espace réservé du texte 17">
            <a:extLst>
              <a:ext uri="{FF2B5EF4-FFF2-40B4-BE49-F238E27FC236}">
                <a16:creationId xmlns:a16="http://schemas.microsoft.com/office/drawing/2014/main" id="{930D6C4D-8511-437A-B3D5-0F9CBC93B9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581724" y="5692107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32" name="Espace réservé du texte 17">
            <a:extLst>
              <a:ext uri="{FF2B5EF4-FFF2-40B4-BE49-F238E27FC236}">
                <a16:creationId xmlns:a16="http://schemas.microsoft.com/office/drawing/2014/main" id="{218CAD9D-594C-4262-9BE4-D19C1B8241C1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583297" y="6155876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34" name="Espace réservé du texte 17">
            <a:extLst>
              <a:ext uri="{FF2B5EF4-FFF2-40B4-BE49-F238E27FC236}">
                <a16:creationId xmlns:a16="http://schemas.microsoft.com/office/drawing/2014/main" id="{98D97654-EEEA-4D58-A2DB-CCD6CCA548FE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587360" y="6733824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6" name="Espace réservé du texte 17">
            <a:extLst>
              <a:ext uri="{FF2B5EF4-FFF2-40B4-BE49-F238E27FC236}">
                <a16:creationId xmlns:a16="http://schemas.microsoft.com/office/drawing/2014/main" id="{09F33D73-E99B-4746-8C7A-EBD6161BCDB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581724" y="6730988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35" name="Espace réservé du texte 17">
            <a:extLst>
              <a:ext uri="{FF2B5EF4-FFF2-40B4-BE49-F238E27FC236}">
                <a16:creationId xmlns:a16="http://schemas.microsoft.com/office/drawing/2014/main" id="{89230667-50D9-47D9-A8C7-FAE52F19D569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583297" y="7194757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AE9FBA9E-4B66-4D19-A4F1-FA106CF943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80310" y="932237"/>
            <a:ext cx="8427535" cy="7231375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221522-8752-D144-CBDC-F4E82C157112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/>
          <a:p>
            <a:fld id="{4645A3FD-5C5A-4F91-AE43-309EDE1FEC3B}" type="datetime1">
              <a:rPr lang="en-US" smtClean="0"/>
              <a:t>5/22/2026</a:t>
            </a:fld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84C0408-DEDF-6B0B-2B8E-193A356A5A0A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8AFAC46-27EF-36F7-B393-57D5F249CA0B}"/>
              </a:ext>
            </a:extLst>
          </p:cNvPr>
          <p:cNvGrpSpPr/>
          <p:nvPr userDrawn="1"/>
        </p:nvGrpSpPr>
        <p:grpSpPr>
          <a:xfrm>
            <a:off x="515494" y="8085893"/>
            <a:ext cx="4390795" cy="637364"/>
            <a:chOff x="2059274" y="2112556"/>
            <a:chExt cx="5270756" cy="774722"/>
          </a:xfrm>
        </p:grpSpPr>
        <p:pic>
          <p:nvPicPr>
            <p:cNvPr id="20" name="Picture 19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65C76EE1-722E-DFAF-4ED2-29AE751504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1" name="Picture 20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D2EFDDDB-4762-47DC-87D1-9C16D36C0B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15831DB-593F-A562-7DCE-08EB736E9297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45089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5464B-D2EF-4132-BFF3-24607B5DE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Espace réservé du texte 17">
            <a:extLst>
              <a:ext uri="{FF2B5EF4-FFF2-40B4-BE49-F238E27FC236}">
                <a16:creationId xmlns:a16="http://schemas.microsoft.com/office/drawing/2014/main" id="{82732C9F-2E43-4038-BC05-DED439C12F10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1518885" y="2572245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40" name="Espace réservé du texte 17">
            <a:extLst>
              <a:ext uri="{FF2B5EF4-FFF2-40B4-BE49-F238E27FC236}">
                <a16:creationId xmlns:a16="http://schemas.microsoft.com/office/drawing/2014/main" id="{30B81CE8-C869-4163-AF4B-EB730E30E2AD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513249" y="2569409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39" name="Espace réservé du texte 17">
            <a:extLst>
              <a:ext uri="{FF2B5EF4-FFF2-40B4-BE49-F238E27FC236}">
                <a16:creationId xmlns:a16="http://schemas.microsoft.com/office/drawing/2014/main" id="{4729A94F-D32F-4FA2-B41A-A87626D5F53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514823" y="3033178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59" name="Espace réservé du texte 17">
            <a:extLst>
              <a:ext uri="{FF2B5EF4-FFF2-40B4-BE49-F238E27FC236}">
                <a16:creationId xmlns:a16="http://schemas.microsoft.com/office/drawing/2014/main" id="{E8F35747-B4E8-4514-BE8C-F5A1401CF48F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1518885" y="3612521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1" name="Espace réservé du texte 17">
            <a:extLst>
              <a:ext uri="{FF2B5EF4-FFF2-40B4-BE49-F238E27FC236}">
                <a16:creationId xmlns:a16="http://schemas.microsoft.com/office/drawing/2014/main" id="{FCCA7931-F0F5-41EC-B328-F91A4F359E2C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2513249" y="3609683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60" name="Espace réservé du texte 17">
            <a:extLst>
              <a:ext uri="{FF2B5EF4-FFF2-40B4-BE49-F238E27FC236}">
                <a16:creationId xmlns:a16="http://schemas.microsoft.com/office/drawing/2014/main" id="{DBAE0210-39D8-4F04-8FF6-6CD0D5F97AEC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2514823" y="4073454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62" name="Espace réservé du texte 17">
            <a:extLst>
              <a:ext uri="{FF2B5EF4-FFF2-40B4-BE49-F238E27FC236}">
                <a16:creationId xmlns:a16="http://schemas.microsoft.com/office/drawing/2014/main" id="{7BA108F3-0481-4A14-9D65-B9A309C38668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1518885" y="4652796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4" name="Espace réservé du texte 17">
            <a:extLst>
              <a:ext uri="{FF2B5EF4-FFF2-40B4-BE49-F238E27FC236}">
                <a16:creationId xmlns:a16="http://schemas.microsoft.com/office/drawing/2014/main" id="{66506539-BBA1-4A3E-B7AD-0307CA753479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2513249" y="4649959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63" name="Espace réservé du texte 17">
            <a:extLst>
              <a:ext uri="{FF2B5EF4-FFF2-40B4-BE49-F238E27FC236}">
                <a16:creationId xmlns:a16="http://schemas.microsoft.com/office/drawing/2014/main" id="{41FE92FA-898C-4F5A-A71E-9D8B964E10FC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2514823" y="5113730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65" name="Espace réservé du texte 17">
            <a:extLst>
              <a:ext uri="{FF2B5EF4-FFF2-40B4-BE49-F238E27FC236}">
                <a16:creationId xmlns:a16="http://schemas.microsoft.com/office/drawing/2014/main" id="{C5654311-D660-4B29-AF0A-1981CC54CEE9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518885" y="5693072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44" name="Espace réservé du texte 17">
            <a:extLst>
              <a:ext uri="{FF2B5EF4-FFF2-40B4-BE49-F238E27FC236}">
                <a16:creationId xmlns:a16="http://schemas.microsoft.com/office/drawing/2014/main" id="{96E7A572-131B-4F3D-A86D-379293B4A63D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1518885" y="6733344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53" name="Espace réservé du texte 17">
            <a:extLst>
              <a:ext uri="{FF2B5EF4-FFF2-40B4-BE49-F238E27FC236}">
                <a16:creationId xmlns:a16="http://schemas.microsoft.com/office/drawing/2014/main" id="{85BA105D-CC21-4D86-8EAC-3B1D35E166FF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805555" y="2572245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8" name="Espace réservé du texte 17">
            <a:extLst>
              <a:ext uri="{FF2B5EF4-FFF2-40B4-BE49-F238E27FC236}">
                <a16:creationId xmlns:a16="http://schemas.microsoft.com/office/drawing/2014/main" id="{F8D9666C-06C2-4568-AFE1-5E33A958EFFF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8805555" y="3612521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71" name="Espace réservé du texte 17">
            <a:extLst>
              <a:ext uri="{FF2B5EF4-FFF2-40B4-BE49-F238E27FC236}">
                <a16:creationId xmlns:a16="http://schemas.microsoft.com/office/drawing/2014/main" id="{93AE66DF-B0A6-45B7-A2F2-B59B5C8C03BC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05555" y="4652796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74" name="Espace réservé du texte 17">
            <a:extLst>
              <a:ext uri="{FF2B5EF4-FFF2-40B4-BE49-F238E27FC236}">
                <a16:creationId xmlns:a16="http://schemas.microsoft.com/office/drawing/2014/main" id="{05BA45E7-DB40-4745-812E-41659735FD2D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8805555" y="5693072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56" name="Espace réservé du texte 17">
            <a:extLst>
              <a:ext uri="{FF2B5EF4-FFF2-40B4-BE49-F238E27FC236}">
                <a16:creationId xmlns:a16="http://schemas.microsoft.com/office/drawing/2014/main" id="{B44E60B6-D8D8-4311-9307-2FD74D1A6FE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8805555" y="6733344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43">
              <a:lnSpc>
                <a:spcPct val="90000"/>
              </a:lnSpc>
              <a:spcBef>
                <a:spcPts val="525"/>
              </a:spcBef>
              <a:defRPr lang="fr-FR" sz="1225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9EF3C5-B274-8FB7-CFAD-107C73CFAD24}"/>
              </a:ext>
            </a:extLst>
          </p:cNvPr>
          <p:cNvSpPr>
            <a:spLocks noGrp="1"/>
          </p:cNvSpPr>
          <p:nvPr>
            <p:ph type="dt" sz="half" idx="131"/>
          </p:nvPr>
        </p:nvSpPr>
        <p:spPr/>
        <p:txBody>
          <a:bodyPr/>
          <a:lstStyle/>
          <a:p>
            <a:fld id="{2D784B3A-2CE9-459C-B273-C10928231E8C}" type="datetime1">
              <a:rPr lang="en-US" smtClean="0"/>
              <a:t>5/22/2026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9BFAEB-C078-B08E-3306-219710AFEB6A}"/>
              </a:ext>
            </a:extLst>
          </p:cNvPr>
          <p:cNvSpPr>
            <a:spLocks noGrp="1"/>
          </p:cNvSpPr>
          <p:nvPr>
            <p:ph type="sldNum" sz="quarter" idx="13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Espace réservé du texte 17">
            <a:extLst>
              <a:ext uri="{FF2B5EF4-FFF2-40B4-BE49-F238E27FC236}">
                <a16:creationId xmlns:a16="http://schemas.microsoft.com/office/drawing/2014/main" id="{BEA0C3A5-8675-3FF0-89DF-69DD661C8DB9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2513249" y="5682816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08DF23FC-FB49-8327-F4A5-178FB06A2B2A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2514823" y="6146586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8AC92D72-79F5-6132-BDCC-BD33C5BD7966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2513249" y="6735926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3281126A-41A2-5B3A-1FA8-77F3EA3F927A}"/>
              </a:ext>
            </a:extLst>
          </p:cNvPr>
          <p:cNvSpPr>
            <a:spLocks noGrp="1"/>
          </p:cNvSpPr>
          <p:nvPr>
            <p:ph type="body" sz="quarter" idx="137" hasCustomPrompt="1"/>
          </p:nvPr>
        </p:nvSpPr>
        <p:spPr>
          <a:xfrm>
            <a:off x="2514823" y="7199695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C3A97E51-E3E0-7B39-7834-0DD056DA4237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9793194" y="2569409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87295372-B9BC-9365-FDA1-94B2E87D04AA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9794767" y="3033178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E59C78B7-6BF7-DBF5-7889-565008C9AEA0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9793194" y="3609683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893F0BFF-3744-7FDC-DA74-0E4D3DE98D06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9794767" y="4073454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E42B1777-A8CF-583D-D86E-F13E41BAC0EE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9793194" y="4649959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D76849E9-2D63-4B2B-082B-C68F707B4F6B}"/>
              </a:ext>
            </a:extLst>
          </p:cNvPr>
          <p:cNvSpPr>
            <a:spLocks noGrp="1"/>
          </p:cNvSpPr>
          <p:nvPr>
            <p:ph type="body" sz="quarter" idx="143" hasCustomPrompt="1"/>
          </p:nvPr>
        </p:nvSpPr>
        <p:spPr>
          <a:xfrm>
            <a:off x="9794767" y="5113730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C93E33F7-A7B5-4EAF-874A-64BCCA85459F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9793194" y="5682816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C129B55A-1317-32B4-45D4-DBDF594D8AAB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9794767" y="6146586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8F968D2-D73D-3739-CE5A-B643A2CF3CD1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9793194" y="6735926"/>
            <a:ext cx="5292464" cy="42427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9" name="Espace réservé du texte 17">
            <a:extLst>
              <a:ext uri="{FF2B5EF4-FFF2-40B4-BE49-F238E27FC236}">
                <a16:creationId xmlns:a16="http://schemas.microsoft.com/office/drawing/2014/main" id="{FAAC0B39-1B23-5841-AD77-466D083BD192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9794767" y="7199695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2ABFC4F-65DF-E446-B7B9-78A7CB2BDDEC}"/>
              </a:ext>
            </a:extLst>
          </p:cNvPr>
          <p:cNvGrpSpPr/>
          <p:nvPr userDrawn="1"/>
        </p:nvGrpSpPr>
        <p:grpSpPr>
          <a:xfrm>
            <a:off x="515494" y="8085893"/>
            <a:ext cx="4390795" cy="637364"/>
            <a:chOff x="2059274" y="2112556"/>
            <a:chExt cx="5270756" cy="774722"/>
          </a:xfrm>
        </p:grpSpPr>
        <p:pic>
          <p:nvPicPr>
            <p:cNvPr id="25" name="Picture 24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385739D2-3238-00F7-3030-0299DB705C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6" name="Picture 25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DDA73E5B-28ED-B6EE-FF53-68BC6A56B0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C37FB58-0004-026E-4DC3-4400F666B329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1126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E8EEE40-8DCC-A126-3431-24FEFD6BAC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9912" y="3985983"/>
            <a:ext cx="8660096" cy="559973"/>
          </a:xfrm>
          <a:effectLst/>
        </p:spPr>
        <p:txBody>
          <a:bodyPr vert="horz" lIns="0" tIns="0" rIns="0" bIns="0" rtlCol="0">
            <a:noAutofit/>
          </a:bodyPr>
          <a:lstStyle>
            <a:lvl1pPr>
              <a:defRPr lang="en-GB" b="1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noProof="0"/>
              <a:t>Principal </a:t>
            </a:r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en-GB" noProof="0"/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12621997" y="5458053"/>
            <a:ext cx="1689233" cy="1649915"/>
          </a:xfrm>
          <a:prstGeom prst="rect">
            <a:avLst/>
          </a:prstGeom>
        </p:spPr>
      </p:pic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39043" y="3964360"/>
            <a:ext cx="1485712" cy="581596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42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9914" y="4664011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0" kern="1200" cap="all" baseline="0" dirty="0" err="1">
                <a:solidFill>
                  <a:schemeClr val="bg2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59914" y="5223982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1" kern="1200" noProof="0" dirty="0" smtClean="0">
                <a:solidFill>
                  <a:schemeClr val="bg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marL="0" lvl="0" indent="0" algn="l" defTabSz="1200001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3698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20F6A4-A7AC-0213-849B-AF3167A140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9912" y="3985983"/>
            <a:ext cx="8660096" cy="559973"/>
          </a:xfrm>
          <a:effectLst/>
        </p:spPr>
        <p:txBody>
          <a:bodyPr vert="horz" lIns="0" tIns="0" rIns="0" bIns="0" rtlCol="0">
            <a:noAutofit/>
          </a:bodyPr>
          <a:lstStyle>
            <a:lvl1pPr>
              <a:defRPr lang="en-GB" b="1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GB" noProof="0"/>
              <a:t>Principal chapter title</a:t>
            </a:r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12621997" y="5458053"/>
            <a:ext cx="1689233" cy="1649915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39043" y="3964360"/>
            <a:ext cx="1485712" cy="581596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42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9914" y="4664011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0" kern="1200" cap="all" baseline="0" dirty="0" err="1">
                <a:solidFill>
                  <a:schemeClr val="accent2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59914" y="5223982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1" kern="1200" dirty="0" err="1">
                <a:solidFill>
                  <a:schemeClr val="accent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70999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920CC99-2862-47B8-AA12-B455F7B72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B2003F5C-CB72-4CF3-92F6-48DF799244F6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91270" y="1874476"/>
            <a:ext cx="15020485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700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87363" y="2345798"/>
            <a:ext cx="15020485" cy="5614781"/>
          </a:xfrm>
        </p:spPr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  <a:lvl2pPr>
              <a:defRPr>
                <a:latin typeface="Sanofi Sans" panose="02010503030201020103" pitchFamily="2" charset="77"/>
              </a:defRPr>
            </a:lvl2pPr>
            <a:lvl3pPr>
              <a:defRPr>
                <a:latin typeface="Sanofi Sans" panose="02010503030201020103" pitchFamily="2" charset="77"/>
              </a:defRPr>
            </a:lvl3pPr>
            <a:lvl4pPr>
              <a:defRPr>
                <a:latin typeface="Sanofi Sans" panose="02010503030201020103" pitchFamily="2" charset="77"/>
              </a:defRPr>
            </a:lvl4pPr>
            <a:lvl5pPr>
              <a:defRPr>
                <a:latin typeface="Sanofi Sans" panose="02010503030201020103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CE4111-FD6C-60E8-ED51-6C73EB95F83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fld id="{2EB1A2A6-018C-487A-80EC-25FC6F1EE24C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A642AD8-B0E2-D9ED-F188-1C9CEC86A5E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84A5044-43AB-2320-B995-B1D6BE2A2582}"/>
              </a:ext>
            </a:extLst>
          </p:cNvPr>
          <p:cNvGrpSpPr/>
          <p:nvPr userDrawn="1"/>
        </p:nvGrpSpPr>
        <p:grpSpPr>
          <a:xfrm>
            <a:off x="515494" y="8085893"/>
            <a:ext cx="4390795" cy="637364"/>
            <a:chOff x="2059274" y="2112556"/>
            <a:chExt cx="5270756" cy="774722"/>
          </a:xfrm>
        </p:grpSpPr>
        <p:pic>
          <p:nvPicPr>
            <p:cNvPr id="22" name="Picture 2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B8EAFB8-30D9-78CC-8AD3-15F718A4537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3" name="Picture 22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666456B5-4CD5-876C-D1E4-9B6C40C62B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2F23351-0BF9-9C21-F048-9ABE88F4A50D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36886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621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12621997" y="5458053"/>
            <a:ext cx="1689233" cy="1649915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39045" y="3964360"/>
            <a:ext cx="1485711" cy="581596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42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559912" y="3964360"/>
            <a:ext cx="8660096" cy="581596"/>
          </a:xfrm>
        </p:spPr>
        <p:txBody>
          <a:bodyPr/>
          <a:lstStyle>
            <a:lvl1pPr>
              <a:lnSpc>
                <a:spcPct val="90000"/>
              </a:lnSpc>
              <a:defRPr lang="fr-FR" sz="42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59912" y="5223983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59912" y="4664012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22881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3C3353-532F-470C-976B-DF4E883F1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88" y="505889"/>
            <a:ext cx="10157766" cy="125977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F3196DAB-B773-4CB8-B0BB-E2663F22689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1272" y="1874476"/>
            <a:ext cx="10157191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700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BF4ECDC-1329-46C8-8342-5FD3297D56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7365" y="2345798"/>
            <a:ext cx="10157191" cy="56147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1244635" y="0"/>
            <a:ext cx="4955803" cy="8999538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A106B2-2CD7-EE19-12C2-78F07D9B677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32445ADE-84A6-426F-98D2-48FC9081D9F3}" type="datetime1">
              <a:rPr lang="en-US" smtClean="0"/>
              <a:t>5/22/2026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A13D38-194B-6B72-337E-FE468EF85BF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5CB1B1D-41A3-5402-3FBC-F1A72A485E85}"/>
              </a:ext>
            </a:extLst>
          </p:cNvPr>
          <p:cNvGrpSpPr/>
          <p:nvPr userDrawn="1"/>
        </p:nvGrpSpPr>
        <p:grpSpPr>
          <a:xfrm>
            <a:off x="515494" y="8085893"/>
            <a:ext cx="4390795" cy="637364"/>
            <a:chOff x="2059274" y="2112556"/>
            <a:chExt cx="5270756" cy="774722"/>
          </a:xfrm>
        </p:grpSpPr>
        <p:pic>
          <p:nvPicPr>
            <p:cNvPr id="20" name="Picture 19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5454E138-FEF4-5426-51C2-B40F53C0EE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1" name="Picture 20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436E8668-58AF-6AE7-C457-E3A76A631E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2CB9E58-A437-91C6-FC10-FDC6E9C70148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08106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1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AD8BD9-8520-41B8-97B9-B2853F4C4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88" y="505889"/>
            <a:ext cx="7136859" cy="125977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AF3408D4-3F1B-42DA-9498-07BBCDC902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1272" y="1874476"/>
            <a:ext cx="7136281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700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r>
              <a:rPr lang="fr-FR" noProof="0"/>
              <a:t> exemp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972CF1A-7155-4C76-B467-0170E3D53F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7365" y="2345798"/>
            <a:ext cx="7136281" cy="56147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00219" y="0"/>
            <a:ext cx="8100219" cy="8999538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9ACA39-4BC7-5AC4-76B9-B56A48A55BB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91B1E43-4FEA-49C1-8890-5714C0610762}" type="datetime1">
              <a:rPr lang="en-US" smtClean="0"/>
              <a:t>5/22/2026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35421E6-F36E-183E-5372-92ED31FF82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C926220-E160-E9D7-6EA5-09F64C8A46E1}"/>
              </a:ext>
            </a:extLst>
          </p:cNvPr>
          <p:cNvGrpSpPr/>
          <p:nvPr userDrawn="1"/>
        </p:nvGrpSpPr>
        <p:grpSpPr>
          <a:xfrm>
            <a:off x="515494" y="8085893"/>
            <a:ext cx="4390795" cy="637364"/>
            <a:chOff x="2059274" y="2112556"/>
            <a:chExt cx="5270756" cy="774722"/>
          </a:xfrm>
        </p:grpSpPr>
        <p:pic>
          <p:nvPicPr>
            <p:cNvPr id="5" name="Picture 4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B13A15AB-4866-F33B-01B6-001C480D28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5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45623A7B-6036-633E-196F-7A94820F11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9DB3286-7D26-7BE0-1F84-00993A9816BB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882312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wo columns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A80DD-522E-15F3-7C7C-1ED7FE2F9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EB4E48BE-B935-323D-EA39-C821EE1437F8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591270" y="1874476"/>
            <a:ext cx="15020485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700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F7EDA8B-6FF9-744E-91CD-1538C781023E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587829" y="2360990"/>
            <a:ext cx="7290197" cy="5599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2D027E88-95FA-9A56-29EC-9196E6F94EA6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8321558" y="2360246"/>
            <a:ext cx="7290197" cy="5599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8D04389-FFAB-E750-9515-20B585BA073B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0BA501FD-2FAF-45B3-BE64-C36C9F1F0D9E}" type="datetime1">
              <a:rPr lang="en-US" smtClean="0"/>
              <a:t>5/22/2026</a:t>
            </a:fld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6014C3-F39F-A66A-38F8-AC73717AC38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53BB6A7-A59E-F906-6B3F-4F9FC3630D8D}"/>
              </a:ext>
            </a:extLst>
          </p:cNvPr>
          <p:cNvGrpSpPr/>
          <p:nvPr userDrawn="1"/>
        </p:nvGrpSpPr>
        <p:grpSpPr>
          <a:xfrm>
            <a:off x="515494" y="8085893"/>
            <a:ext cx="4390795" cy="637364"/>
            <a:chOff x="2059274" y="2112556"/>
            <a:chExt cx="5270756" cy="774722"/>
          </a:xfrm>
        </p:grpSpPr>
        <p:pic>
          <p:nvPicPr>
            <p:cNvPr id="5" name="Picture 4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8FC60A02-AD4C-E550-839C-FC446441A5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A355F79B-78C3-F13E-36E4-BD74ACCBE5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C8FF23F-F8FF-61EF-E242-7C4B54493A82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8793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0"/>
            <a:ext cx="5375598" cy="8999538"/>
          </a:xfrm>
          <a:prstGeom prst="rect">
            <a:avLst/>
          </a:prstGeom>
          <a:solidFill>
            <a:srgbClr val="E9E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167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4FADB-EEC5-45D2-AA5E-7A0D798F1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87" y="505889"/>
            <a:ext cx="3752562" cy="125977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47966520-9FD5-42B3-AD18-E492CBBE356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91270" y="1874476"/>
            <a:ext cx="3750338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700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E0BC0F4-D286-4029-9886-E5C53C4FB5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7365" y="2308375"/>
            <a:ext cx="3750338" cy="56125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0456B57B-663C-438F-BBF6-1AB9B756FE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78159" y="549672"/>
            <a:ext cx="1833333" cy="698498"/>
          </a:xfrm>
        </p:spPr>
        <p:txBody>
          <a:bodyPr/>
          <a:lstStyle>
            <a:lvl1pPr algn="l">
              <a:lnSpc>
                <a:spcPct val="110000"/>
              </a:lnSpc>
              <a:defRPr sz="4550" b="0" i="0" cap="all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99999" indent="-299999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xmlns="" r:embed="rId2"/>
                    </a:ext>
                  </a:extLst>
                </a:blip>
              </a:buBlip>
              <a:defRPr sz="1400"/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44" name="Espace réservé pour une image  15">
            <a:extLst>
              <a:ext uri="{FF2B5EF4-FFF2-40B4-BE49-F238E27FC236}">
                <a16:creationId xmlns:a16="http://schemas.microsoft.com/office/drawing/2014/main" id="{6EC29CFA-5793-4C6C-80E1-231B1EAA43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78161" y="1760171"/>
            <a:ext cx="1833333" cy="238727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7" name="Espace réservé du texte 4">
            <a:extLst>
              <a:ext uri="{FF2B5EF4-FFF2-40B4-BE49-F238E27FC236}">
                <a16:creationId xmlns:a16="http://schemas.microsoft.com/office/drawing/2014/main" id="{87E76F68-620B-4D77-BFEE-041D7315FC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78161" y="4401452"/>
            <a:ext cx="1833333" cy="862393"/>
          </a:xfrm>
        </p:spPr>
        <p:txBody>
          <a:bodyPr/>
          <a:lstStyle>
            <a:lvl1pPr algn="l">
              <a:lnSpc>
                <a:spcPct val="125000"/>
              </a:lnSpc>
              <a:defRPr sz="2450" i="1">
                <a:solidFill>
                  <a:schemeClr val="accent2"/>
                </a:solidFill>
                <a:latin typeface="Sanofi Serif" panose="02060503060201090102" pitchFamily="18" charset="77"/>
              </a:defRPr>
            </a:lvl1pPr>
            <a:lvl2pPr marL="0" indent="0">
              <a:lnSpc>
                <a:spcPts val="2100"/>
              </a:lnSpc>
              <a:spcAft>
                <a:spcPts val="700"/>
              </a:spcAft>
              <a:buFont typeface="Arial" panose="020B0604020202020204" pitchFamily="34" charset="0"/>
              <a:buNone/>
              <a:defRPr sz="1925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marL="0" marR="0" lvl="0" indent="0" algn="l" defTabSz="1200001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noProof="0" err="1"/>
              <a:t>SubTitle</a:t>
            </a:r>
            <a:r>
              <a:rPr lang="fr-FR" noProof="0"/>
              <a:t/>
            </a:r>
            <a:br>
              <a:rPr lang="fr-FR" noProof="0"/>
            </a:br>
            <a:r>
              <a:rPr lang="fr-FR" noProof="0"/>
              <a:t>Exemple</a:t>
            </a:r>
          </a:p>
        </p:txBody>
      </p:sp>
      <p:sp>
        <p:nvSpPr>
          <p:cNvPr id="54" name="Espace réservé du texte 4">
            <a:extLst>
              <a:ext uri="{FF2B5EF4-FFF2-40B4-BE49-F238E27FC236}">
                <a16:creationId xmlns:a16="http://schemas.microsoft.com/office/drawing/2014/main" id="{EB355F06-F117-4960-9CD2-3296D719777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78161" y="5510290"/>
            <a:ext cx="1833333" cy="2676985"/>
          </a:xfrm>
        </p:spPr>
        <p:txBody>
          <a:bodyPr/>
          <a:lstStyle>
            <a:lvl1pPr algn="l">
              <a:lnSpc>
                <a:spcPct val="125000"/>
              </a:lnSpc>
              <a:defRPr sz="2450">
                <a:solidFill>
                  <a:schemeClr val="tx1"/>
                </a:solidFill>
              </a:defRPr>
            </a:lvl1pPr>
            <a:lvl2pPr marL="0" indent="0">
              <a:lnSpc>
                <a:spcPts val="2100"/>
              </a:lnSpc>
              <a:spcAft>
                <a:spcPts val="700"/>
              </a:spcAft>
              <a:buFont typeface="Arial" panose="020B0604020202020204" pitchFamily="34" charset="0"/>
              <a:buNone/>
              <a:defRPr sz="1225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9" name="Espace réservé du texte 4">
            <a:extLst>
              <a:ext uri="{FF2B5EF4-FFF2-40B4-BE49-F238E27FC236}">
                <a16:creationId xmlns:a16="http://schemas.microsoft.com/office/drawing/2014/main" id="{D7722D17-99A8-4564-81CF-20F1F7F8DB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83815" y="549672"/>
            <a:ext cx="1833332" cy="698498"/>
          </a:xfrm>
        </p:spPr>
        <p:txBody>
          <a:bodyPr/>
          <a:lstStyle>
            <a:lvl1pPr algn="l">
              <a:lnSpc>
                <a:spcPct val="110000"/>
              </a:lnSpc>
              <a:defRPr sz="4550" b="0" i="0" cap="all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99999" indent="-299999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xmlns="" r:embed="rId2"/>
                    </a:ext>
                  </a:extLst>
                </a:blip>
              </a:buBlip>
              <a:defRPr sz="1400"/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48" name="Espace réservé pour une image  15">
            <a:extLst>
              <a:ext uri="{FF2B5EF4-FFF2-40B4-BE49-F238E27FC236}">
                <a16:creationId xmlns:a16="http://schemas.microsoft.com/office/drawing/2014/main" id="{59EC3F46-5FB4-498B-9543-7330D6DD492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383818" y="1760171"/>
            <a:ext cx="1833333" cy="238727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5" name="Espace réservé du texte 4">
            <a:extLst>
              <a:ext uri="{FF2B5EF4-FFF2-40B4-BE49-F238E27FC236}">
                <a16:creationId xmlns:a16="http://schemas.microsoft.com/office/drawing/2014/main" id="{D86CBB7A-9502-4B85-850C-DF2587D4D6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3816" y="4391343"/>
            <a:ext cx="1833333" cy="875054"/>
          </a:xfrm>
        </p:spPr>
        <p:txBody>
          <a:bodyPr/>
          <a:lstStyle>
            <a:lvl1pPr algn="l">
              <a:lnSpc>
                <a:spcPct val="125000"/>
              </a:lnSpc>
              <a:defRPr sz="2450" i="1">
                <a:solidFill>
                  <a:schemeClr val="accent2"/>
                </a:solidFill>
                <a:latin typeface="Sanofi Serif" panose="02060503060201090102" pitchFamily="18" charset="77"/>
              </a:defRPr>
            </a:lvl1pPr>
            <a:lvl2pPr marL="0" indent="0">
              <a:lnSpc>
                <a:spcPts val="2100"/>
              </a:lnSpc>
              <a:spcAft>
                <a:spcPts val="700"/>
              </a:spcAft>
              <a:buFont typeface="Arial" panose="020B0604020202020204" pitchFamily="34" charset="0"/>
              <a:buNone/>
              <a:defRPr sz="1925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r>
              <a:rPr lang="fr-FR" noProof="0"/>
              <a:t/>
            </a:r>
            <a:br>
              <a:rPr lang="fr-FR" noProof="0"/>
            </a:br>
            <a:r>
              <a:rPr lang="fr-FR" noProof="0"/>
              <a:t>Exemple</a:t>
            </a:r>
          </a:p>
        </p:txBody>
      </p:sp>
      <p:sp>
        <p:nvSpPr>
          <p:cNvPr id="56" name="Espace réservé du texte 4">
            <a:extLst>
              <a:ext uri="{FF2B5EF4-FFF2-40B4-BE49-F238E27FC236}">
                <a16:creationId xmlns:a16="http://schemas.microsoft.com/office/drawing/2014/main" id="{86544E69-3546-4BEE-9749-1A8EFA7DDE3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83816" y="5510290"/>
            <a:ext cx="1833333" cy="2676985"/>
          </a:xfrm>
        </p:spPr>
        <p:txBody>
          <a:bodyPr/>
          <a:lstStyle>
            <a:lvl1pPr algn="l">
              <a:lnSpc>
                <a:spcPct val="125000"/>
              </a:lnSpc>
              <a:defRPr sz="2450">
                <a:solidFill>
                  <a:schemeClr val="tx1"/>
                </a:solidFill>
              </a:defRPr>
            </a:lvl1pPr>
            <a:lvl2pPr marL="0" indent="0">
              <a:lnSpc>
                <a:spcPts val="2100"/>
              </a:lnSpc>
              <a:spcAft>
                <a:spcPts val="700"/>
              </a:spcAft>
              <a:buFont typeface="Arial" panose="020B0604020202020204" pitchFamily="34" charset="0"/>
              <a:buNone/>
              <a:defRPr sz="1225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1" name="Espace réservé du texte 4">
            <a:extLst>
              <a:ext uri="{FF2B5EF4-FFF2-40B4-BE49-F238E27FC236}">
                <a16:creationId xmlns:a16="http://schemas.microsoft.com/office/drawing/2014/main" id="{B0DC2D27-DE73-4D51-B4A4-D9CC4DC5A4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589471" y="549672"/>
            <a:ext cx="1833330" cy="698498"/>
          </a:xfrm>
        </p:spPr>
        <p:txBody>
          <a:bodyPr/>
          <a:lstStyle>
            <a:lvl1pPr algn="l">
              <a:lnSpc>
                <a:spcPct val="110000"/>
              </a:lnSpc>
              <a:defRPr sz="4550" b="0" i="0" cap="all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99999" indent="-299999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xmlns="" r:embed="rId2"/>
                    </a:ext>
                  </a:extLst>
                </a:blip>
              </a:buBlip>
              <a:defRPr sz="1400"/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50" name="Espace réservé pour une image  15">
            <a:extLst>
              <a:ext uri="{FF2B5EF4-FFF2-40B4-BE49-F238E27FC236}">
                <a16:creationId xmlns:a16="http://schemas.microsoft.com/office/drawing/2014/main" id="{B20B9505-236E-4469-A51C-A2C7B71B271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1589473" y="1760171"/>
            <a:ext cx="1833333" cy="238727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75A5190F-9F87-4BAA-9B38-DA41741440E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589468" y="4391343"/>
            <a:ext cx="1833333" cy="875054"/>
          </a:xfrm>
        </p:spPr>
        <p:txBody>
          <a:bodyPr/>
          <a:lstStyle>
            <a:lvl1pPr algn="l">
              <a:lnSpc>
                <a:spcPct val="125000"/>
              </a:lnSpc>
              <a:defRPr sz="2450" i="1">
                <a:solidFill>
                  <a:schemeClr val="accent2"/>
                </a:solidFill>
                <a:latin typeface="Sanofi Serif" panose="02060503060201090102" pitchFamily="18" charset="77"/>
              </a:defRPr>
            </a:lvl1pPr>
            <a:lvl2pPr marL="0" indent="0">
              <a:lnSpc>
                <a:spcPts val="2100"/>
              </a:lnSpc>
              <a:spcAft>
                <a:spcPts val="700"/>
              </a:spcAft>
              <a:buFont typeface="Arial" panose="020B0604020202020204" pitchFamily="34" charset="0"/>
              <a:buNone/>
              <a:defRPr sz="1925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r>
              <a:rPr lang="fr-FR" noProof="0"/>
              <a:t/>
            </a:r>
            <a:br>
              <a:rPr lang="fr-FR" noProof="0"/>
            </a:br>
            <a:r>
              <a:rPr lang="fr-FR" noProof="0"/>
              <a:t>Exemple</a:t>
            </a:r>
          </a:p>
        </p:txBody>
      </p:sp>
      <p:sp>
        <p:nvSpPr>
          <p:cNvPr id="58" name="Espace réservé du texte 4">
            <a:extLst>
              <a:ext uri="{FF2B5EF4-FFF2-40B4-BE49-F238E27FC236}">
                <a16:creationId xmlns:a16="http://schemas.microsoft.com/office/drawing/2014/main" id="{FF1BBCD1-8544-421A-85E5-77CA0FA35FE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589468" y="5510290"/>
            <a:ext cx="1833333" cy="2676985"/>
          </a:xfrm>
        </p:spPr>
        <p:txBody>
          <a:bodyPr/>
          <a:lstStyle>
            <a:lvl1pPr algn="l">
              <a:lnSpc>
                <a:spcPct val="125000"/>
              </a:lnSpc>
              <a:defRPr sz="2450">
                <a:solidFill>
                  <a:schemeClr val="tx1"/>
                </a:solidFill>
              </a:defRPr>
            </a:lvl1pPr>
            <a:lvl2pPr marL="0" indent="0">
              <a:lnSpc>
                <a:spcPts val="2100"/>
              </a:lnSpc>
              <a:spcAft>
                <a:spcPts val="700"/>
              </a:spcAft>
              <a:buFont typeface="Arial" panose="020B0604020202020204" pitchFamily="34" charset="0"/>
              <a:buNone/>
              <a:defRPr sz="1225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3" name="Espace réservé du texte 4">
            <a:extLst>
              <a:ext uri="{FF2B5EF4-FFF2-40B4-BE49-F238E27FC236}">
                <a16:creationId xmlns:a16="http://schemas.microsoft.com/office/drawing/2014/main" id="{6F5500B0-3264-4A96-BDF7-6321D671A8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795128" y="549672"/>
            <a:ext cx="1833330" cy="698498"/>
          </a:xfrm>
        </p:spPr>
        <p:txBody>
          <a:bodyPr/>
          <a:lstStyle>
            <a:lvl1pPr algn="l">
              <a:lnSpc>
                <a:spcPct val="110000"/>
              </a:lnSpc>
              <a:defRPr sz="4550" b="0" i="0" cap="all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99999" indent="-299999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xmlns="" r:embed="rId2"/>
                    </a:ext>
                  </a:extLst>
                </a:blip>
              </a:buBlip>
              <a:defRPr sz="1400"/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52" name="Espace réservé pour une image  15">
            <a:extLst>
              <a:ext uri="{FF2B5EF4-FFF2-40B4-BE49-F238E27FC236}">
                <a16:creationId xmlns:a16="http://schemas.microsoft.com/office/drawing/2014/main" id="{C7AF1FA3-8607-484E-960C-0DEC87C8B4B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3795130" y="1760171"/>
            <a:ext cx="1833333" cy="238727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9" name="Espace réservé du texte 4">
            <a:extLst>
              <a:ext uri="{FF2B5EF4-FFF2-40B4-BE49-F238E27FC236}">
                <a16:creationId xmlns:a16="http://schemas.microsoft.com/office/drawing/2014/main" id="{BF822235-CF36-42FB-998B-784756CA5FE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3795119" y="4391343"/>
            <a:ext cx="1833333" cy="875054"/>
          </a:xfrm>
        </p:spPr>
        <p:txBody>
          <a:bodyPr/>
          <a:lstStyle>
            <a:lvl1pPr algn="l">
              <a:lnSpc>
                <a:spcPct val="125000"/>
              </a:lnSpc>
              <a:defRPr sz="2450" i="1">
                <a:solidFill>
                  <a:schemeClr val="accent2"/>
                </a:solidFill>
                <a:latin typeface="Sanofi Serif" panose="02060503060201090102" pitchFamily="18" charset="77"/>
              </a:defRPr>
            </a:lvl1pPr>
            <a:lvl2pPr marL="0" indent="0">
              <a:lnSpc>
                <a:spcPts val="2100"/>
              </a:lnSpc>
              <a:spcAft>
                <a:spcPts val="700"/>
              </a:spcAft>
              <a:buFont typeface="Arial" panose="020B0604020202020204" pitchFamily="34" charset="0"/>
              <a:buNone/>
              <a:defRPr sz="1925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r>
              <a:rPr lang="fr-FR" noProof="0"/>
              <a:t/>
            </a:r>
            <a:br>
              <a:rPr lang="fr-FR" noProof="0"/>
            </a:br>
            <a:r>
              <a:rPr lang="fr-FR" noProof="0"/>
              <a:t>Exemple</a:t>
            </a:r>
          </a:p>
        </p:txBody>
      </p:sp>
      <p:sp>
        <p:nvSpPr>
          <p:cNvPr id="60" name="Espace réservé du texte 4">
            <a:extLst>
              <a:ext uri="{FF2B5EF4-FFF2-40B4-BE49-F238E27FC236}">
                <a16:creationId xmlns:a16="http://schemas.microsoft.com/office/drawing/2014/main" id="{80EE59DB-9243-4843-902C-CEAFDD74F3B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3795119" y="5510290"/>
            <a:ext cx="1833333" cy="2676985"/>
          </a:xfrm>
        </p:spPr>
        <p:txBody>
          <a:bodyPr/>
          <a:lstStyle>
            <a:lvl1pPr algn="l">
              <a:lnSpc>
                <a:spcPct val="125000"/>
              </a:lnSpc>
              <a:defRPr sz="2450">
                <a:solidFill>
                  <a:schemeClr val="tx1"/>
                </a:solidFill>
              </a:defRPr>
            </a:lvl1pPr>
            <a:lvl2pPr marL="0" indent="0">
              <a:lnSpc>
                <a:spcPts val="2100"/>
              </a:lnSpc>
              <a:spcAft>
                <a:spcPts val="700"/>
              </a:spcAft>
              <a:buFont typeface="Arial" panose="020B0604020202020204" pitchFamily="34" charset="0"/>
              <a:buNone/>
              <a:defRPr sz="1225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20235B-FA42-4BE7-947B-F821D4289B09}"/>
              </a:ext>
            </a:extLst>
          </p:cNvPr>
          <p:cNvSpPr>
            <a:spLocks noGrp="1"/>
          </p:cNvSpPr>
          <p:nvPr>
            <p:ph type="dt" sz="half" idx="52"/>
          </p:nvPr>
        </p:nvSpPr>
        <p:spPr/>
        <p:txBody>
          <a:bodyPr/>
          <a:lstStyle/>
          <a:p>
            <a:fld id="{2697922A-7781-4072-BF7A-4E6A16A869CF}" type="datetime1">
              <a:rPr lang="en-US" smtClean="0"/>
              <a:t>5/22/2026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CB29E3-354E-DD45-6FF1-140AEE56BA96}"/>
              </a:ext>
            </a:extLst>
          </p:cNvPr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C98DF90-EC1C-BCDF-298F-0C053BD59F93}"/>
              </a:ext>
            </a:extLst>
          </p:cNvPr>
          <p:cNvGrpSpPr/>
          <p:nvPr userDrawn="1"/>
        </p:nvGrpSpPr>
        <p:grpSpPr>
          <a:xfrm>
            <a:off x="515494" y="8085893"/>
            <a:ext cx="4390795" cy="637364"/>
            <a:chOff x="2059274" y="2112556"/>
            <a:chExt cx="5270756" cy="774722"/>
          </a:xfrm>
        </p:grpSpPr>
        <p:pic>
          <p:nvPicPr>
            <p:cNvPr id="10" name="Picture 9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9698F342-5A7C-3A68-995F-5E7A0CCEA6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5D49DA1C-E1B8-FC01-B7D5-A279660288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FE8D520-0D21-B619-739B-7D2B4A7B560E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758197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78E04-C85A-4D77-B8FB-BFFBFEFE7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able Placeholder 3">
            <a:extLst>
              <a:ext uri="{FF2B5EF4-FFF2-40B4-BE49-F238E27FC236}">
                <a16:creationId xmlns:a16="http://schemas.microsoft.com/office/drawing/2014/main" id="{828EDE46-3F40-4CF0-8732-22A2312E12B6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586501" y="1718892"/>
            <a:ext cx="15020485" cy="60839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590B02-5AEE-07D5-3809-402035D462A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E587A10-8E69-40BC-BAAC-7F790FA89BB0}" type="datetime1">
              <a:rPr lang="en-US" smtClean="0"/>
              <a:t>5/22/2026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CEDEE1-A1D7-06C7-B208-C606F9D8308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36C021B-F575-0D56-1BF5-799B6D626F0E}"/>
              </a:ext>
            </a:extLst>
          </p:cNvPr>
          <p:cNvGrpSpPr/>
          <p:nvPr userDrawn="1"/>
        </p:nvGrpSpPr>
        <p:grpSpPr>
          <a:xfrm>
            <a:off x="515494" y="8085893"/>
            <a:ext cx="4390795" cy="637364"/>
            <a:chOff x="2059274" y="2112556"/>
            <a:chExt cx="5270756" cy="774722"/>
          </a:xfrm>
        </p:grpSpPr>
        <p:pic>
          <p:nvPicPr>
            <p:cNvPr id="7" name="Picture 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C69D44F8-C1F4-EE1E-F31D-C2478A3029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5EB9DED2-3E39-A3C8-D5CE-20AA6D1A45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9542DF4-E4C7-A520-D49A-3DDDE295898A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90690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621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7004D7A-10C4-34CE-F72C-6A6BBC59E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991CA3D-AA7B-5C60-7E4D-2B019FAB5ED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2977F9D-6034-43ED-9740-BFE4F3BC9480}" type="datetime1">
              <a:rPr lang="en-US" smtClean="0"/>
              <a:t>5/22/2026</a:t>
            </a:fld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7BC42FB-27D4-71F0-7550-E0207D2F2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5B6DFAA-7050-B28F-0B36-95D3347CC8B7}"/>
              </a:ext>
            </a:extLst>
          </p:cNvPr>
          <p:cNvGrpSpPr/>
          <p:nvPr userDrawn="1"/>
        </p:nvGrpSpPr>
        <p:grpSpPr>
          <a:xfrm>
            <a:off x="515494" y="8085893"/>
            <a:ext cx="4390795" cy="637364"/>
            <a:chOff x="2059274" y="2112556"/>
            <a:chExt cx="5270756" cy="774722"/>
          </a:xfrm>
        </p:grpSpPr>
        <p:pic>
          <p:nvPicPr>
            <p:cNvPr id="7" name="Picture 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013DA45-5BFD-7DAA-6D4F-2F3AF99AB9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F9D19BF8-3A64-F429-9620-EFE7C3B28E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B5BEA16-E69D-33A0-F9C6-3A5103EB5C91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039137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746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25056" y="3224985"/>
            <a:ext cx="12150329" cy="1167825"/>
          </a:xfrm>
        </p:spPr>
        <p:txBody>
          <a:bodyPr anchor="ctr">
            <a:normAutofit/>
          </a:bodyPr>
          <a:lstStyle>
            <a:lvl1pPr algn="ctr">
              <a:defRPr sz="70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7987865" y="5013475"/>
            <a:ext cx="224714" cy="22035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7987865" y="2409055"/>
            <a:ext cx="224714" cy="22035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4AB81C-D4AD-264B-5A75-99D3505A0B11}"/>
              </a:ext>
            </a:extLst>
          </p:cNvPr>
          <p:cNvGrpSpPr/>
          <p:nvPr userDrawn="1"/>
        </p:nvGrpSpPr>
        <p:grpSpPr>
          <a:xfrm>
            <a:off x="5667825" y="7523573"/>
            <a:ext cx="5073692" cy="720901"/>
            <a:chOff x="1703568" y="2112557"/>
            <a:chExt cx="5517133" cy="77472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832AC5C-2AF1-037D-B550-1BEE0520BF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25285" y="2112557"/>
              <a:ext cx="2495416" cy="774720"/>
            </a:xfrm>
            <a:prstGeom prst="rect">
              <a:avLst/>
            </a:prstGeom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7C773BD-797F-7BEF-12C5-18E9ABBD60FD}"/>
                </a:ext>
              </a:extLst>
            </p:cNvPr>
            <p:cNvCxnSpPr/>
            <p:nvPr userDrawn="1"/>
          </p:nvCxnSpPr>
          <p:spPr>
            <a:xfrm>
              <a:off x="4350300" y="2146572"/>
              <a:ext cx="0" cy="726976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9477236-5D68-C19A-6070-B03ADD14C7D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6548" b="16548"/>
            <a:stretch/>
          </p:blipFill>
          <p:spPr>
            <a:xfrm>
              <a:off x="1703568" y="2133392"/>
              <a:ext cx="2449001" cy="748709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217007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15035" y="2795694"/>
            <a:ext cx="13770372" cy="1929068"/>
          </a:xfrm>
        </p:spPr>
        <p:txBody>
          <a:bodyPr>
            <a:normAutofit/>
          </a:bodyPr>
          <a:lstStyle>
            <a:lvl1pPr>
              <a:defRPr sz="4200" b="1">
                <a:solidFill>
                  <a:srgbClr val="16B3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0067" y="5099738"/>
            <a:ext cx="11340307" cy="2299882"/>
          </a:xfrm>
        </p:spPr>
        <p:txBody>
          <a:bodyPr>
            <a:normAutofit/>
          </a:bodyPr>
          <a:lstStyle>
            <a:lvl1pPr marL="0" indent="0" algn="ctr">
              <a:buNone/>
              <a:defRPr sz="3675">
                <a:solidFill>
                  <a:srgbClr val="333333"/>
                </a:solidFill>
              </a:defRPr>
            </a:lvl1pPr>
            <a:lvl2pPr marL="600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00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00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00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00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00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626B8-B720-4238-9EC3-DAC550D8618E}" type="datetimeFigureOut">
              <a:rPr lang="ru-RU" smtClean="0"/>
              <a:pPr/>
              <a:t>22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5482DC-A515-459E-9534-21423884000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04418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50366835-777C-511E-AE03-D0BFC18D66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5923" y="3035724"/>
            <a:ext cx="6428596" cy="2928095"/>
          </a:xfrm>
          <a:prstGeom prst="rect">
            <a:avLst/>
          </a:prstGeom>
          <a:ln>
            <a:noFill/>
          </a:ln>
        </p:spPr>
      </p:pic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A614F291-A2F3-7C39-C753-E9AB856616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Date Placeholder 5">
            <a:extLst>
              <a:ext uri="{FF2B5EF4-FFF2-40B4-BE49-F238E27FC236}">
                <a16:creationId xmlns:a16="http://schemas.microsoft.com/office/drawing/2014/main" id="{9157214E-9675-6892-0BF2-D12F93D89B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>
            <a:lvl1pPr>
              <a:defRPr/>
            </a:lvl1pPr>
          </a:lstStyle>
          <a:p>
            <a:fld id="{312284ED-1400-4B7A-A441-5958B8163AA6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C2630542-BCE9-D91B-8BC8-E859AB698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947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95026D94-B8BF-C3D0-23F7-1AA4DA0C7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Date Placeholder 5">
            <a:extLst>
              <a:ext uri="{FF2B5EF4-FFF2-40B4-BE49-F238E27FC236}">
                <a16:creationId xmlns:a16="http://schemas.microsoft.com/office/drawing/2014/main" id="{237A4FEF-25F8-EB2B-BBCB-9C32E4352C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/>
          <a:p>
            <a:fld id="{E03DF6FD-3F39-2043-B7EA-BFF43711A2B8}" type="datetimeFigureOut">
              <a:rPr lang="en-US" smtClean="0"/>
              <a:t>5/22/2026</a:t>
            </a:fld>
            <a:endParaRPr lang="en-US" dirty="0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0A15F7BA-3C85-B4B9-AEF9-6D650D325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/>
          <a:p>
            <a:fld id="{3BBED5F5-3DDA-A343-B801-1693B3A69C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200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734258" y="3898225"/>
            <a:ext cx="4731926" cy="1203088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solidFill>
                  <a:schemeClr val="accent2"/>
                </a:solidFill>
                <a:latin typeface="Sanofi Sans" panose="02010503030201020103" pitchFamily="2" charset="0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</p:grp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06681E7C-A401-24B2-190B-F8791D4B45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5">
            <a:extLst>
              <a:ext uri="{FF2B5EF4-FFF2-40B4-BE49-F238E27FC236}">
                <a16:creationId xmlns:a16="http://schemas.microsoft.com/office/drawing/2014/main" id="{EC286F5E-D823-604F-D91C-CFF250813D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>
            <a:lvl1pPr>
              <a:defRPr/>
            </a:lvl1pPr>
          </a:lstStyle>
          <a:p>
            <a:fld id="{E135BA25-44C6-43B9-B0C3-F5D044477730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0A8338E8-3915-C4BF-C663-3AB9D095D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216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que 5">
            <a:extLst>
              <a:ext uri="{FF2B5EF4-FFF2-40B4-BE49-F238E27FC236}">
                <a16:creationId xmlns:a16="http://schemas.microsoft.com/office/drawing/2014/main" id="{1B1D4CD9-9930-B2C1-BDDB-5B426C3D929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5943903" y="3985746"/>
            <a:ext cx="4312635" cy="1028048"/>
          </a:xfrm>
          <a:prstGeom prst="rect">
            <a:avLst/>
          </a:prstGeom>
        </p:spPr>
      </p:pic>
      <p:pic>
        <p:nvPicPr>
          <p:cNvPr id="3" name="Graphique 2">
            <a:extLst>
              <a:ext uri="{FF2B5EF4-FFF2-40B4-BE49-F238E27FC236}">
                <a16:creationId xmlns:a16="http://schemas.microsoft.com/office/drawing/2014/main" id="{866049D6-C1E6-1C5F-9944-E90D00ACA6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3850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que 5">
            <a:extLst>
              <a:ext uri="{FF2B5EF4-FFF2-40B4-BE49-F238E27FC236}">
                <a16:creationId xmlns:a16="http://schemas.microsoft.com/office/drawing/2014/main" id="{1B1D4CD9-9930-B2C1-BDDB-5B426C3D929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5943903" y="3985746"/>
            <a:ext cx="4312635" cy="1028048"/>
          </a:xfrm>
          <a:prstGeom prst="rect">
            <a:avLst/>
          </a:prstGeom>
        </p:spPr>
      </p:pic>
      <p:pic>
        <p:nvPicPr>
          <p:cNvPr id="3" name="Graphique 2">
            <a:extLst>
              <a:ext uri="{FF2B5EF4-FFF2-40B4-BE49-F238E27FC236}">
                <a16:creationId xmlns:a16="http://schemas.microsoft.com/office/drawing/2014/main" id="{866049D6-C1E6-1C5F-9944-E90D00ACA6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918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866049D6-C1E6-1C5F-9944-E90D00ACA6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27E720E0-802E-3FDE-525F-050BAD557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120" y="2938675"/>
            <a:ext cx="9294580" cy="3122191"/>
          </a:xfrm>
        </p:spPr>
        <p:txBody>
          <a:bodyPr anchor="ctr"/>
          <a:lstStyle>
            <a:lvl1pPr algn="ctr">
              <a:defRPr sz="8399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grpSp>
        <p:nvGrpSpPr>
          <p:cNvPr id="12" name="Graphique 7">
            <a:extLst>
              <a:ext uri="{FF2B5EF4-FFF2-40B4-BE49-F238E27FC236}">
                <a16:creationId xmlns:a16="http://schemas.microsoft.com/office/drawing/2014/main" id="{B3B0CCF7-02F2-0BDF-B15E-188157DBE16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90132" y="7991977"/>
            <a:ext cx="1420181" cy="36108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3" name="Forme libre : forme 7">
              <a:extLst>
                <a:ext uri="{FF2B5EF4-FFF2-40B4-BE49-F238E27FC236}">
                  <a16:creationId xmlns:a16="http://schemas.microsoft.com/office/drawing/2014/main" id="{CC385352-07D3-5232-8CFD-844A8E1A8479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  <p:sp>
          <p:nvSpPr>
            <p:cNvPr id="14" name="Forme libre : forme 8">
              <a:extLst>
                <a:ext uri="{FF2B5EF4-FFF2-40B4-BE49-F238E27FC236}">
                  <a16:creationId xmlns:a16="http://schemas.microsoft.com/office/drawing/2014/main" id="{5C7EAA88-BDC1-3113-9F73-9D6FC409F632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solidFill>
                  <a:schemeClr val="accent2"/>
                </a:solidFill>
                <a:latin typeface="Sanofi Sans" panose="02010503030201020103" pitchFamily="2" charset="0"/>
              </a:endParaRPr>
            </a:p>
          </p:txBody>
        </p:sp>
        <p:sp>
          <p:nvSpPr>
            <p:cNvPr id="15" name="Forme libre : forme 9">
              <a:extLst>
                <a:ext uri="{FF2B5EF4-FFF2-40B4-BE49-F238E27FC236}">
                  <a16:creationId xmlns:a16="http://schemas.microsoft.com/office/drawing/2014/main" id="{F2E23BE0-4028-26E4-D10C-83FF455E309A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285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866049D6-C1E6-1C5F-9944-E90D00ACA6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  <p:sp>
        <p:nvSpPr>
          <p:cNvPr id="5" name="Titre 8">
            <a:extLst>
              <a:ext uri="{FF2B5EF4-FFF2-40B4-BE49-F238E27FC236}">
                <a16:creationId xmlns:a16="http://schemas.microsoft.com/office/drawing/2014/main" id="{220F0EBD-725E-BFB9-B2BD-72B266550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120" y="2938675"/>
            <a:ext cx="9294580" cy="3122191"/>
          </a:xfrm>
        </p:spPr>
        <p:txBody>
          <a:bodyPr anchor="ctr"/>
          <a:lstStyle>
            <a:lvl1pPr algn="ctr">
              <a:defRPr sz="8399"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6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4BB0ED5F-6767-C3D4-DF7D-C0EF6EEAF6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8461" y="7735686"/>
            <a:ext cx="1984176" cy="90375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38844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7998078" y="6561219"/>
            <a:ext cx="204286" cy="20031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7998078" y="2031415"/>
            <a:ext cx="204286" cy="20031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32C881-4A7C-F2DB-1F92-32C9711AC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827" y="2535412"/>
            <a:ext cx="12265195" cy="2175936"/>
          </a:xfrm>
        </p:spPr>
        <p:txBody>
          <a:bodyPr>
            <a:noAutofit/>
          </a:bodyPr>
          <a:lstStyle>
            <a:lvl1pPr algn="ctr">
              <a:defRPr sz="7349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57CD9AAA-CCAE-44AF-A224-A38A0B786F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67625" y="4931713"/>
            <a:ext cx="12265195" cy="705947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3500" b="0" i="1" kern="1200" dirty="0">
                <a:solidFill>
                  <a:schemeClr val="accent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487398" indent="0" algn="ctr">
              <a:lnSpc>
                <a:spcPct val="100000"/>
              </a:lnSpc>
              <a:buFont typeface="Arial" panose="020B0604020202020204" pitchFamily="34" charset="0"/>
              <a:buNone/>
              <a:defRPr sz="7349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F176A07A-C4FF-49D0-80C5-1B4F36FB3A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967625" y="5922595"/>
            <a:ext cx="12265195" cy="4046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2450" b="0" i="0" kern="120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algn="l">
              <a:lnSpc>
                <a:spcPct val="100000"/>
              </a:lnSpc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08703A-2EC7-4EBC-25D2-46174F00720E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6658955" y="8454683"/>
            <a:ext cx="2882414" cy="291549"/>
          </a:xfrm>
        </p:spPr>
        <p:txBody>
          <a:bodyPr/>
          <a:lstStyle>
            <a:lvl1pPr algn="ctr">
              <a:defRPr/>
            </a:lvl1pPr>
          </a:lstStyle>
          <a:p>
            <a:fld id="{7B6E4200-24F6-4D03-9F35-01A375BA5907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2D8D70C-F89E-240F-494A-E0033A017BB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4769304" y="8399147"/>
            <a:ext cx="843774" cy="359987"/>
          </a:xfrm>
        </p:spPr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57F5ED8-BC67-2422-8F8F-DF361F83A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7978765" y="9162863"/>
            <a:ext cx="0" cy="5692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7D3D1E7-2699-59A4-D8F8-B13F1191BFCB}"/>
              </a:ext>
            </a:extLst>
          </p:cNvPr>
          <p:cNvSpPr txBox="1"/>
          <p:nvPr userDrawn="1"/>
        </p:nvSpPr>
        <p:spPr>
          <a:xfrm>
            <a:off x="2441760" y="9830135"/>
            <a:ext cx="10279561" cy="1277273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0" i="0">
                <a:latin typeface="Sanofi Sans" panose="02010503030201020103" pitchFamily="2" charset="77"/>
              </a:rPr>
              <a:t>How to change date format:</a:t>
            </a:r>
          </a:p>
          <a:p>
            <a:pPr marL="499996" indent="-499996">
              <a:buFontTx/>
              <a:buChar char="-"/>
            </a:pPr>
            <a:r>
              <a:rPr lang="en-US" sz="1925" b="0" i="0">
                <a:latin typeface="Sanofi Sans" panose="02010503030201020103" pitchFamily="2" charset="77"/>
              </a:rPr>
              <a:t>Go to the “Insert” tab in the top ribbon</a:t>
            </a:r>
          </a:p>
          <a:p>
            <a:pPr marL="499996" indent="-499996">
              <a:buFontTx/>
              <a:buChar char="-"/>
            </a:pPr>
            <a:r>
              <a:rPr lang="en-US" sz="1925" b="0" i="0">
                <a:latin typeface="Sanofi Sans" panose="02010503030201020103" pitchFamily="2" charset="77"/>
              </a:rPr>
              <a:t>Click on “Header &amp; Footer”</a:t>
            </a:r>
          </a:p>
          <a:p>
            <a:pPr marL="499996" indent="-499996">
              <a:buFontTx/>
              <a:buChar char="-"/>
            </a:pPr>
            <a:r>
              <a:rPr lang="en-US" sz="1925" b="0" i="0">
                <a:latin typeface="Sanofi Sans" panose="02010503030201020103" pitchFamily="2" charset="77"/>
              </a:rPr>
              <a:t>Choose the desired date format from the dropdown and save your changes</a:t>
            </a:r>
          </a:p>
        </p:txBody>
      </p:sp>
      <p:pic>
        <p:nvPicPr>
          <p:cNvPr id="7" name="Picture 6" descr="A picture containing text, design&#10;&#10;Description automatically generated">
            <a:extLst>
              <a:ext uri="{FF2B5EF4-FFF2-40B4-BE49-F238E27FC236}">
                <a16:creationId xmlns:a16="http://schemas.microsoft.com/office/drawing/2014/main" id="{C2D5CC4C-B9C2-025E-BF1F-27788700B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40751" y="9853514"/>
            <a:ext cx="926063" cy="1282921"/>
          </a:xfrm>
          <a:prstGeom prst="rect">
            <a:avLst/>
          </a:prstGeom>
        </p:spPr>
      </p:pic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236282C4-AAF3-0E90-B97C-4AE13DF613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11626002"/>
            <a:ext cx="7938215" cy="291551"/>
          </a:xfrm>
        </p:spPr>
        <p:txBody>
          <a:bodyPr/>
          <a:lstStyle>
            <a:lvl1pPr>
              <a:defRPr b="0" i="0">
                <a:latin typeface="Sanofi Sans" panose="02010503030201020103" pitchFamily="2" charset="77"/>
              </a:defRPr>
            </a:lvl1pPr>
          </a:lstStyle>
          <a:p>
            <a:endParaRPr lang="en-US"/>
          </a:p>
        </p:txBody>
      </p:sp>
      <p:pic>
        <p:nvPicPr>
          <p:cNvPr id="11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55693CE1-20E7-D434-5672-8AD54442C24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5055" y="305935"/>
            <a:ext cx="1984176" cy="90375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95615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graphique SmartArt 18">
            <a:extLst>
              <a:ext uri="{FF2B5EF4-FFF2-40B4-BE49-F238E27FC236}">
                <a16:creationId xmlns:a16="http://schemas.microsoft.com/office/drawing/2014/main" id="{50E609C3-EA6F-468A-8B7C-CD27949FB33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7998076" y="6561219"/>
            <a:ext cx="204286" cy="20031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  <p:sp>
        <p:nvSpPr>
          <p:cNvPr id="18" name="Espace réservé du graphique SmartArt 19">
            <a:extLst>
              <a:ext uri="{FF2B5EF4-FFF2-40B4-BE49-F238E27FC236}">
                <a16:creationId xmlns:a16="http://schemas.microsoft.com/office/drawing/2014/main" id="{F155B637-1E1E-462B-9FBB-56FD4231172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7998076" y="2031415"/>
            <a:ext cx="204286" cy="20031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45A615-DA1F-29AA-A06D-24C5F97B5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7625" y="2527447"/>
            <a:ext cx="12265195" cy="2195088"/>
          </a:xfrm>
        </p:spPr>
        <p:txBody>
          <a:bodyPr/>
          <a:lstStyle>
            <a:lvl1pPr algn="ctr">
              <a:defRPr sz="7349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54CCF570-9115-4289-839C-7FACBC619C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67625" y="4931713"/>
            <a:ext cx="12265195" cy="705947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3500" b="0" i="1" kern="1200" dirty="0">
                <a:solidFill>
                  <a:schemeClr val="bg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487398" indent="0" algn="ctr">
              <a:lnSpc>
                <a:spcPct val="100000"/>
              </a:lnSpc>
              <a:buFont typeface="Arial" panose="020B0604020202020204" pitchFamily="34" charset="0"/>
              <a:buNone/>
              <a:defRPr sz="7349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89FD9C7-FB39-4714-81F8-6EA37E5B62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967625" y="5922595"/>
            <a:ext cx="12265195" cy="4046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2450" b="0" i="0" kern="1200" dirty="0">
                <a:solidFill>
                  <a:schemeClr val="bg2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algn="l">
              <a:lnSpc>
                <a:spcPct val="100000"/>
              </a:lnSpc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C10403-1F97-E022-7AB9-4F7DAEF42BCE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6658956" y="8446350"/>
            <a:ext cx="2882414" cy="29154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736AE607-E498-40B6-BA25-25F7D03EA726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8C3271-9D4F-D92A-D079-0D4DFA48B7A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58ABEE5-0D04-225B-3EFE-FF44D8843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grpSp>
        <p:nvGrpSpPr>
          <p:cNvPr id="3" name="Graphique 7">
            <a:extLst>
              <a:ext uri="{FF2B5EF4-FFF2-40B4-BE49-F238E27FC236}">
                <a16:creationId xmlns:a16="http://schemas.microsoft.com/office/drawing/2014/main" id="{A549BD7B-62F8-942D-EFFC-9F17CCC606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90075" y="662091"/>
            <a:ext cx="1420181" cy="36108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6" name="Forme libre : forme 7">
              <a:extLst>
                <a:ext uri="{FF2B5EF4-FFF2-40B4-BE49-F238E27FC236}">
                  <a16:creationId xmlns:a16="http://schemas.microsoft.com/office/drawing/2014/main" id="{6B747B3A-63E0-329D-84B4-6CA17873A80C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  <p:sp>
          <p:nvSpPr>
            <p:cNvPr id="8" name="Forme libre : forme 8">
              <a:extLst>
                <a:ext uri="{FF2B5EF4-FFF2-40B4-BE49-F238E27FC236}">
                  <a16:creationId xmlns:a16="http://schemas.microsoft.com/office/drawing/2014/main" id="{FCBCDFEE-AF67-6710-1BE6-7698C8FA8585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solidFill>
                  <a:schemeClr val="accent2"/>
                </a:solidFill>
                <a:latin typeface="Sanofi Sans" panose="02010503030201020103" pitchFamily="2" charset="0"/>
              </a:endParaRPr>
            </a:p>
          </p:txBody>
        </p:sp>
        <p:sp>
          <p:nvSpPr>
            <p:cNvPr id="13" name="Forme libre : forme 9">
              <a:extLst>
                <a:ext uri="{FF2B5EF4-FFF2-40B4-BE49-F238E27FC236}">
                  <a16:creationId xmlns:a16="http://schemas.microsoft.com/office/drawing/2014/main" id="{08BF5F21-4E9B-414F-1459-0879B1A47F6C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31259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with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4F60E46E-0715-41F6-BEAC-C9C998D41D4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2211559" y="2314520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/>
              <a:t>Cliquez sur l'icône pour ajouter un graphique SmartArt</a:t>
            </a:r>
          </a:p>
        </p:txBody>
      </p:sp>
      <p:sp>
        <p:nvSpPr>
          <p:cNvPr id="22" name="Espace réservé du graphique SmartArt 11">
            <a:extLst>
              <a:ext uri="{FF2B5EF4-FFF2-40B4-BE49-F238E27FC236}">
                <a16:creationId xmlns:a16="http://schemas.microsoft.com/office/drawing/2014/main" id="{2835F6F0-E601-40E8-8F65-7949A8AA2AF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12211559" y="6784105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/>
              <a:t>Cliquez sur l'icône pour ajouter un graphique SmartArt</a:t>
            </a:r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" y="0"/>
            <a:ext cx="8470744" cy="8999538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A3477C-D6FC-D7E0-047E-F20105E4F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3661" y="2530089"/>
            <a:ext cx="6577097" cy="2173668"/>
          </a:xfrm>
        </p:spPr>
        <p:txBody>
          <a:bodyPr anchor="b"/>
          <a:lstStyle>
            <a:lvl1pPr algn="ctr">
              <a:defRPr sz="525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14179443-CD99-4560-A70A-CF3E60CA5C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3661" y="4931713"/>
            <a:ext cx="6577097" cy="70594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3500" b="0" i="1" kern="1200" dirty="0">
                <a:solidFill>
                  <a:schemeClr val="accent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487398" indent="0" algn="ctr">
              <a:lnSpc>
                <a:spcPct val="100000"/>
              </a:lnSpc>
              <a:buFont typeface="Arial" panose="020B0604020202020204" pitchFamily="34" charset="0"/>
              <a:buNone/>
              <a:defRPr sz="35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633150E7-212E-42D8-857F-00B727BB0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13661" y="5669655"/>
            <a:ext cx="6577097" cy="1011313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2450" b="0" i="0" kern="120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algn="l">
              <a:lnSpc>
                <a:spcPct val="100000"/>
              </a:lnSpc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FBD84C-C1DB-D752-B1E0-1F750781866A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10871114" y="8446347"/>
            <a:ext cx="2882414" cy="291549"/>
          </a:xfrm>
        </p:spPr>
        <p:txBody>
          <a:bodyPr/>
          <a:lstStyle>
            <a:lvl1pPr algn="ctr">
              <a:defRPr/>
            </a:lvl1pPr>
          </a:lstStyle>
          <a:p>
            <a:fld id="{971DAC69-AF37-4291-9D13-4403BBF8CF8B}" type="datetime1">
              <a:rPr lang="en-US" smtClean="0"/>
              <a:pPr/>
              <a:t>5/22/2026</a:t>
            </a:fld>
            <a:endParaRPr lang="en-US"/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68C069D0-B5D0-504E-2496-36A8562926A7}"/>
              </a:ext>
            </a:extLst>
          </p:cNvPr>
          <p:cNvCxnSpPr>
            <a:cxnSpLocks/>
          </p:cNvCxnSpPr>
          <p:nvPr userDrawn="1"/>
        </p:nvCxnSpPr>
        <p:spPr>
          <a:xfrm>
            <a:off x="-985524" y="279986"/>
            <a:ext cx="8840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10BF80A-315A-D082-FC58-F44416FD9DDD}"/>
              </a:ext>
            </a:extLst>
          </p:cNvPr>
          <p:cNvSpPr txBox="1"/>
          <p:nvPr userDrawn="1"/>
        </p:nvSpPr>
        <p:spPr>
          <a:xfrm>
            <a:off x="-4317094" y="79850"/>
            <a:ext cx="3164598" cy="7794441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add an imag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the icon inside the image placehold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Select the image you want to use from your comput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“Open”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Adjust or crop the image if necessary by using the button “Crop” in the top ribbon.</a:t>
            </a:r>
          </a:p>
          <a:p>
            <a:pPr marL="299998" indent="-299998">
              <a:buFontTx/>
              <a:buChar char="-"/>
            </a:pPr>
            <a:endParaRPr lang="en-US" sz="1925">
              <a:latin typeface="Sanofi Sans" panose="02010503030201020103" pitchFamily="2" charset="77"/>
            </a:endParaRPr>
          </a:p>
          <a:p>
            <a:pPr marL="0" indent="0">
              <a:buFontTx/>
              <a:buNone/>
            </a:pPr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r>
              <a:rPr lang="en-US" sz="1925" b="1">
                <a:latin typeface="Sanofi Sans" panose="02010503030201020103" pitchFamily="2" charset="77"/>
              </a:rPr>
              <a:t>Add Alt Text or mark as decorativ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Right click on the image and select “View Alt Text”.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ype in the blank field that appears on the right of the slide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If Alt Text isn’t relevant, tick the box to “Mark element as decorative”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FFADE2-6BA0-BF42-BCCC-82685DE22FA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843247" y="4400420"/>
            <a:ext cx="544066" cy="1088389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54BFFA5-AAC6-D700-72EE-2DAE1F3EC702}"/>
              </a:ext>
            </a:extLst>
          </p:cNvPr>
          <p:cNvCxnSpPr>
            <a:cxnSpLocks/>
          </p:cNvCxnSpPr>
          <p:nvPr userDrawn="1"/>
        </p:nvCxnSpPr>
        <p:spPr>
          <a:xfrm flipV="1">
            <a:off x="12337451" y="9162863"/>
            <a:ext cx="0" cy="5692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88D3FEA-FD9E-8042-1FFC-C259AAE6E0B4}"/>
              </a:ext>
            </a:extLst>
          </p:cNvPr>
          <p:cNvSpPr txBox="1"/>
          <p:nvPr userDrawn="1"/>
        </p:nvSpPr>
        <p:spPr>
          <a:xfrm>
            <a:off x="4235375" y="9830135"/>
            <a:ext cx="10279561" cy="1277273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change date format: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Go to the “Insert” tab in the top ribbon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“Header &amp; Footer”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hoose the desired date format from the dropdown and save your changes</a:t>
            </a:r>
          </a:p>
        </p:txBody>
      </p:sp>
      <p:pic>
        <p:nvPicPr>
          <p:cNvPr id="19" name="Picture 18" descr="A picture containing text, design&#10;&#10;Description automatically generated">
            <a:extLst>
              <a:ext uri="{FF2B5EF4-FFF2-40B4-BE49-F238E27FC236}">
                <a16:creationId xmlns:a16="http://schemas.microsoft.com/office/drawing/2014/main" id="{26713790-E152-B95B-2524-D60DA3D335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34365" y="9853514"/>
            <a:ext cx="926063" cy="1282921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220189D-7C19-5BEC-BC34-8AB0212F2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11515794"/>
            <a:ext cx="7938215" cy="291551"/>
          </a:xfrm>
        </p:spPr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7C98933E-97CC-359F-58B0-0B45FC054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11447357"/>
            <a:ext cx="843774" cy="359987"/>
          </a:xfrm>
        </p:spPr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E054079B-FB6A-F0E5-9839-C5D2D33C9FB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9575" y="417255"/>
            <a:ext cx="1984176" cy="90375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52416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with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2211559" y="2314520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12211559" y="6784105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" y="0"/>
            <a:ext cx="8470744" cy="8999538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E4174-1212-A5FD-D6D7-7B66CE6E1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3661" y="2524393"/>
            <a:ext cx="6577097" cy="2211363"/>
          </a:xfrm>
        </p:spPr>
        <p:txBody>
          <a:bodyPr anchor="b"/>
          <a:lstStyle>
            <a:lvl1pPr algn="ctr">
              <a:defRPr sz="525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3661" y="4931713"/>
            <a:ext cx="6577097" cy="70594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3500" b="0" i="1" kern="1200" dirty="0">
                <a:solidFill>
                  <a:schemeClr val="bg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487398" indent="0" algn="ctr">
              <a:lnSpc>
                <a:spcPct val="100000"/>
              </a:lnSpc>
              <a:buFont typeface="Arial" panose="020B0604020202020204" pitchFamily="34" charset="0"/>
              <a:buNone/>
              <a:defRPr sz="35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13661" y="5669655"/>
            <a:ext cx="6577097" cy="1011313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2450" b="0" i="0" kern="1200" dirty="0">
                <a:solidFill>
                  <a:schemeClr val="bg2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algn="l">
              <a:lnSpc>
                <a:spcPct val="100000"/>
              </a:lnSpc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E24E6D-4EF1-5A88-14F5-A64B56EAFFD0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10871114" y="8446347"/>
            <a:ext cx="2882414" cy="29154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3F4C016A-CE32-41D3-BF4A-0A241E5D3DCA}" type="datetime1">
              <a:rPr lang="en-US" smtClean="0"/>
              <a:pPr/>
              <a:t>5/22/2026</a:t>
            </a:fld>
            <a:endParaRPr lang="en-US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9D8AD53-2E55-0829-7091-418B802B405B}"/>
              </a:ext>
            </a:extLst>
          </p:cNvPr>
          <p:cNvCxnSpPr>
            <a:cxnSpLocks/>
          </p:cNvCxnSpPr>
          <p:nvPr userDrawn="1"/>
        </p:nvCxnSpPr>
        <p:spPr>
          <a:xfrm>
            <a:off x="-985524" y="279986"/>
            <a:ext cx="8840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28EDFD9-5DD7-F7AA-09B4-BE8D34F712A6}"/>
              </a:ext>
            </a:extLst>
          </p:cNvPr>
          <p:cNvSpPr txBox="1"/>
          <p:nvPr userDrawn="1"/>
        </p:nvSpPr>
        <p:spPr>
          <a:xfrm>
            <a:off x="-4317094" y="79850"/>
            <a:ext cx="3164598" cy="7794441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add an imag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the icon inside the image placehold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Select the image you want to use from your comput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“Open”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Adjust or crop the image if necessary by using the button “Crop” in the top ribbon.</a:t>
            </a:r>
          </a:p>
          <a:p>
            <a:pPr marL="299998" indent="-299998">
              <a:buFontTx/>
              <a:buChar char="-"/>
            </a:pPr>
            <a:endParaRPr lang="en-US" sz="1925">
              <a:latin typeface="Sanofi Sans" panose="02010503030201020103" pitchFamily="2" charset="77"/>
            </a:endParaRPr>
          </a:p>
          <a:p>
            <a:pPr marL="0" indent="0">
              <a:buFontTx/>
              <a:buNone/>
            </a:pPr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r>
              <a:rPr lang="en-US" sz="1925" b="1">
                <a:latin typeface="Sanofi Sans" panose="02010503030201020103" pitchFamily="2" charset="77"/>
              </a:rPr>
              <a:t>Add Alt Text or mark as decorativ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Right click on the image and select “View Alt Text”.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ype in the blank field that appears on the right of the slide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If Alt Text isn’t relevant, tick the box to “Mark element as decorative”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26984F9-B184-339C-6165-DF2D8F7B15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843247" y="4400420"/>
            <a:ext cx="544066" cy="1088389"/>
          </a:xfrm>
          <a:prstGeom prst="rect">
            <a:avLst/>
          </a:prstGeom>
        </p:spPr>
      </p:pic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E3743891-B3BB-EA5E-FC37-8CB9253E0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B63CA0F1-D472-F7BE-9A05-381E9355F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aphique 7">
            <a:extLst>
              <a:ext uri="{FF2B5EF4-FFF2-40B4-BE49-F238E27FC236}">
                <a16:creationId xmlns:a16="http://schemas.microsoft.com/office/drawing/2014/main" id="{F09F5913-4A71-71DF-F051-442E12721E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48228" y="688591"/>
            <a:ext cx="1420181" cy="36108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20" name="Forme libre : forme 7">
              <a:extLst>
                <a:ext uri="{FF2B5EF4-FFF2-40B4-BE49-F238E27FC236}">
                  <a16:creationId xmlns:a16="http://schemas.microsoft.com/office/drawing/2014/main" id="{561ABBAF-3BB9-3221-AE79-0BF782F4CFB9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  <p:sp>
          <p:nvSpPr>
            <p:cNvPr id="21" name="Forme libre : forme 8">
              <a:extLst>
                <a:ext uri="{FF2B5EF4-FFF2-40B4-BE49-F238E27FC236}">
                  <a16:creationId xmlns:a16="http://schemas.microsoft.com/office/drawing/2014/main" id="{74CA1DC2-2B63-80A8-D1B2-FD26528DC277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solidFill>
                  <a:schemeClr val="accent2"/>
                </a:solidFill>
                <a:latin typeface="Sanofi Sans" panose="02010503030201020103" pitchFamily="2" charset="0"/>
              </a:endParaRPr>
            </a:p>
          </p:txBody>
        </p:sp>
        <p:sp>
          <p:nvSpPr>
            <p:cNvPr id="24" name="Forme libre : forme 9">
              <a:extLst>
                <a:ext uri="{FF2B5EF4-FFF2-40B4-BE49-F238E27FC236}">
                  <a16:creationId xmlns:a16="http://schemas.microsoft.com/office/drawing/2014/main" id="{412B05CF-E694-D3F0-89CF-53D67919C85F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1323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with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6AD566-8583-4475-A096-A17760443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89" y="505889"/>
            <a:ext cx="6287400" cy="125977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3DFCED8-0EB4-4E57-BDC7-7349EFC7B9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7360" y="2572245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50" name="Espace réservé du texte 17">
            <a:extLst>
              <a:ext uri="{FF2B5EF4-FFF2-40B4-BE49-F238E27FC236}">
                <a16:creationId xmlns:a16="http://schemas.microsoft.com/office/drawing/2014/main" id="{591A3E6F-3476-47ED-8C55-9EBB33F42A5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1581726" y="2569411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41" name="Espace réservé du texte 17">
            <a:extLst>
              <a:ext uri="{FF2B5EF4-FFF2-40B4-BE49-F238E27FC236}">
                <a16:creationId xmlns:a16="http://schemas.microsoft.com/office/drawing/2014/main" id="{8AFC591C-8E4C-4797-84E6-9ACB86CA696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583299" y="3033178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24" name="Espace réservé du texte 17">
            <a:extLst>
              <a:ext uri="{FF2B5EF4-FFF2-40B4-BE49-F238E27FC236}">
                <a16:creationId xmlns:a16="http://schemas.microsoft.com/office/drawing/2014/main" id="{97091393-5B32-4687-B23A-7838A2A25A2C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87360" y="3612369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7" name="Espace réservé du texte 17">
            <a:extLst>
              <a:ext uri="{FF2B5EF4-FFF2-40B4-BE49-F238E27FC236}">
                <a16:creationId xmlns:a16="http://schemas.microsoft.com/office/drawing/2014/main" id="{4EFDD7E2-57EF-47B5-AF8A-BF6D20E10C4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581726" y="3609532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26" name="Espace réservé du texte 17">
            <a:extLst>
              <a:ext uri="{FF2B5EF4-FFF2-40B4-BE49-F238E27FC236}">
                <a16:creationId xmlns:a16="http://schemas.microsoft.com/office/drawing/2014/main" id="{78A45169-55E0-4EE5-8CBA-8768DBF2F544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583299" y="4073301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28" name="Espace réservé du texte 17">
            <a:extLst>
              <a:ext uri="{FF2B5EF4-FFF2-40B4-BE49-F238E27FC236}">
                <a16:creationId xmlns:a16="http://schemas.microsoft.com/office/drawing/2014/main" id="{075F6C6B-6992-47B7-BC49-F4AC1EE38A88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587360" y="4652493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0" name="Espace réservé du texte 17">
            <a:extLst>
              <a:ext uri="{FF2B5EF4-FFF2-40B4-BE49-F238E27FC236}">
                <a16:creationId xmlns:a16="http://schemas.microsoft.com/office/drawing/2014/main" id="{599CCF3B-6B06-4CAD-8825-545E17FF2ACF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581726" y="4649657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29" name="Espace réservé du texte 17">
            <a:extLst>
              <a:ext uri="{FF2B5EF4-FFF2-40B4-BE49-F238E27FC236}">
                <a16:creationId xmlns:a16="http://schemas.microsoft.com/office/drawing/2014/main" id="{41B2844B-42C8-4FB2-BA00-4038766A4A1D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583299" y="5113424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31" name="Espace réservé du texte 17">
            <a:extLst>
              <a:ext uri="{FF2B5EF4-FFF2-40B4-BE49-F238E27FC236}">
                <a16:creationId xmlns:a16="http://schemas.microsoft.com/office/drawing/2014/main" id="{4A758C59-C8FF-42D2-9532-27C881E50320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587360" y="5694943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3" name="Espace réservé du texte 17">
            <a:extLst>
              <a:ext uri="{FF2B5EF4-FFF2-40B4-BE49-F238E27FC236}">
                <a16:creationId xmlns:a16="http://schemas.microsoft.com/office/drawing/2014/main" id="{930D6C4D-8511-437A-B3D5-0F9CBC93B9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581726" y="5692109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32" name="Espace réservé du texte 17">
            <a:extLst>
              <a:ext uri="{FF2B5EF4-FFF2-40B4-BE49-F238E27FC236}">
                <a16:creationId xmlns:a16="http://schemas.microsoft.com/office/drawing/2014/main" id="{218CAD9D-594C-4262-9BE4-D19C1B8241C1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583299" y="6155877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34" name="Espace réservé du texte 17">
            <a:extLst>
              <a:ext uri="{FF2B5EF4-FFF2-40B4-BE49-F238E27FC236}">
                <a16:creationId xmlns:a16="http://schemas.microsoft.com/office/drawing/2014/main" id="{98D97654-EEEA-4D58-A2DB-CCD6CCA548FE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587360" y="6733824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6" name="Espace réservé du texte 17">
            <a:extLst>
              <a:ext uri="{FF2B5EF4-FFF2-40B4-BE49-F238E27FC236}">
                <a16:creationId xmlns:a16="http://schemas.microsoft.com/office/drawing/2014/main" id="{09F33D73-E99B-4746-8C7A-EBD6161BCDB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581726" y="6730990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35" name="Espace réservé du texte 17">
            <a:extLst>
              <a:ext uri="{FF2B5EF4-FFF2-40B4-BE49-F238E27FC236}">
                <a16:creationId xmlns:a16="http://schemas.microsoft.com/office/drawing/2014/main" id="{89230667-50D9-47D9-A8C7-FAE52F19D569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583299" y="7194758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AE9FBA9E-4B66-4D19-A4F1-FA106CF943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80310" y="932237"/>
            <a:ext cx="8427535" cy="7231375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281186E-573E-EE05-B138-F2147E78ABDC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221522-8752-D144-CBDC-F4E82C157112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>
            <a:lvl1pPr>
              <a:defRPr/>
            </a:lvl1pPr>
          </a:lstStyle>
          <a:p>
            <a:fld id="{4645A3FD-5C5A-4F91-AE43-309EDE1FEC3B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84C0408-DEDF-6B0B-2B8E-193A356A5A0A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9D10B7C-E302-23C8-88DB-F8BC64865780}"/>
              </a:ext>
            </a:extLst>
          </p:cNvPr>
          <p:cNvCxnSpPr>
            <a:cxnSpLocks/>
          </p:cNvCxnSpPr>
          <p:nvPr userDrawn="1"/>
        </p:nvCxnSpPr>
        <p:spPr>
          <a:xfrm flipH="1">
            <a:off x="16264029" y="1426364"/>
            <a:ext cx="107044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4A75DDD-3897-E5BF-C97D-A5F9C0E4FC8B}"/>
              </a:ext>
            </a:extLst>
          </p:cNvPr>
          <p:cNvSpPr txBox="1"/>
          <p:nvPr userDrawn="1"/>
        </p:nvSpPr>
        <p:spPr>
          <a:xfrm>
            <a:off x="17438631" y="1188085"/>
            <a:ext cx="3164598" cy="7794441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add an imag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the icon inside the image placehold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Select the image you want to use from your comput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“Open”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Adjust or crop the image if necessary by using the button “Crop” in the top ribbon.</a:t>
            </a:r>
          </a:p>
          <a:p>
            <a:pPr marL="299998" indent="-299998">
              <a:buFontTx/>
              <a:buChar char="-"/>
            </a:pPr>
            <a:endParaRPr lang="en-US" sz="1925">
              <a:latin typeface="Sanofi Sans" panose="02010503030201020103" pitchFamily="2" charset="77"/>
            </a:endParaRPr>
          </a:p>
          <a:p>
            <a:pPr marL="0" indent="0">
              <a:buFontTx/>
              <a:buNone/>
            </a:pPr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r>
              <a:rPr lang="en-US" sz="1925" b="1">
                <a:latin typeface="Sanofi Sans" panose="02010503030201020103" pitchFamily="2" charset="77"/>
              </a:rPr>
              <a:t>Add Alt Text or mark as decorativ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Right click on the image and select “View Alt Text”.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ype in the blank field that appears on the right of the slide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If Alt Text isn’t relevant, tick the box to “Mark element as decorative”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10902F2-39DE-D993-BFA5-D7BCB639A8E5}"/>
              </a:ext>
            </a:extLst>
          </p:cNvPr>
          <p:cNvCxnSpPr/>
          <p:nvPr userDrawn="1"/>
        </p:nvCxnSpPr>
        <p:spPr>
          <a:xfrm flipV="1">
            <a:off x="6932255" y="9066201"/>
            <a:ext cx="0" cy="5374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85E8FAC-0796-1DA0-37D6-3EE1E2A42211}"/>
              </a:ext>
            </a:extLst>
          </p:cNvPr>
          <p:cNvSpPr txBox="1"/>
          <p:nvPr userDrawn="1"/>
        </p:nvSpPr>
        <p:spPr>
          <a:xfrm>
            <a:off x="-57650" y="9857006"/>
            <a:ext cx="10350412" cy="1869743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insert all footers: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Select “Insert” from the top ribbon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hen click on “Header &amp; footer”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ype the footer text in field below “Footer”, as shown in the screenshot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“Apply to all”.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he footer on all slides will be update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FDA84A9-1785-6AC6-AED6-F00021C576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2574" y="9857008"/>
            <a:ext cx="997732" cy="153772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7075EC-B61B-F364-411E-94E0D3638F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52573" y="11541819"/>
            <a:ext cx="8704259" cy="92626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B4FFCEA-F144-8EE2-761E-45FF9466C58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7912478" y="5495753"/>
            <a:ext cx="544066" cy="1088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988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95026D94-B8BF-C3D0-23F7-1AA4DA0C7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Date Placeholder 5">
            <a:extLst>
              <a:ext uri="{FF2B5EF4-FFF2-40B4-BE49-F238E27FC236}">
                <a16:creationId xmlns:a16="http://schemas.microsoft.com/office/drawing/2014/main" id="{237A4FEF-25F8-EB2B-BBCB-9C32E4352C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/>
          <a:p>
            <a:fld id="{E03DF6FD-3F39-2043-B7EA-BFF43711A2B8}" type="datetimeFigureOut">
              <a:rPr lang="en-US" smtClean="0"/>
              <a:t>5/22/2026</a:t>
            </a:fld>
            <a:endParaRPr lang="en-US" dirty="0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0A15F7BA-3C85-B4B9-AEF9-6D650D325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/>
          <a:p>
            <a:fld id="{3BBED5F5-3DDA-A343-B801-1693B3A69C50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5" name="Image 4" descr="Une image contenant Lilas, violette, Magenta, bleu&#10;&#10;Le contenu généré par l’IA peut être incorrect.">
            <a:extLst>
              <a:ext uri="{FF2B5EF4-FFF2-40B4-BE49-F238E27FC236}">
                <a16:creationId xmlns:a16="http://schemas.microsoft.com/office/drawing/2014/main" id="{4617A4CF-3078-5AF2-2FAF-13C885C3E9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6213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5464B-D2EF-4132-BFF3-24607B5DE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8" name="Espace réservé du texte 17">
            <a:extLst>
              <a:ext uri="{FF2B5EF4-FFF2-40B4-BE49-F238E27FC236}">
                <a16:creationId xmlns:a16="http://schemas.microsoft.com/office/drawing/2014/main" id="{82732C9F-2E43-4038-BC05-DED439C12F10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1518885" y="2572245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40" name="Espace réservé du texte 17">
            <a:extLst>
              <a:ext uri="{FF2B5EF4-FFF2-40B4-BE49-F238E27FC236}">
                <a16:creationId xmlns:a16="http://schemas.microsoft.com/office/drawing/2014/main" id="{30B81CE8-C869-4163-AF4B-EB730E30E2AD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513251" y="2569411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39" name="Espace réservé du texte 17">
            <a:extLst>
              <a:ext uri="{FF2B5EF4-FFF2-40B4-BE49-F238E27FC236}">
                <a16:creationId xmlns:a16="http://schemas.microsoft.com/office/drawing/2014/main" id="{4729A94F-D32F-4FA2-B41A-A87626D5F53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514824" y="3033178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59" name="Espace réservé du texte 17">
            <a:extLst>
              <a:ext uri="{FF2B5EF4-FFF2-40B4-BE49-F238E27FC236}">
                <a16:creationId xmlns:a16="http://schemas.microsoft.com/office/drawing/2014/main" id="{E8F35747-B4E8-4514-BE8C-F5A1401CF48F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1518885" y="3612521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1" name="Espace réservé du texte 17">
            <a:extLst>
              <a:ext uri="{FF2B5EF4-FFF2-40B4-BE49-F238E27FC236}">
                <a16:creationId xmlns:a16="http://schemas.microsoft.com/office/drawing/2014/main" id="{FCCA7931-F0F5-41EC-B328-F91A4F359E2C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2513251" y="3609684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60" name="Espace réservé du texte 17">
            <a:extLst>
              <a:ext uri="{FF2B5EF4-FFF2-40B4-BE49-F238E27FC236}">
                <a16:creationId xmlns:a16="http://schemas.microsoft.com/office/drawing/2014/main" id="{DBAE0210-39D8-4F04-8FF6-6CD0D5F97AEC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2514824" y="4073454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62" name="Espace réservé du texte 17">
            <a:extLst>
              <a:ext uri="{FF2B5EF4-FFF2-40B4-BE49-F238E27FC236}">
                <a16:creationId xmlns:a16="http://schemas.microsoft.com/office/drawing/2014/main" id="{7BA108F3-0481-4A14-9D65-B9A309C38668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1518885" y="4652797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4" name="Espace réservé du texte 17">
            <a:extLst>
              <a:ext uri="{FF2B5EF4-FFF2-40B4-BE49-F238E27FC236}">
                <a16:creationId xmlns:a16="http://schemas.microsoft.com/office/drawing/2014/main" id="{66506539-BBA1-4A3E-B7AD-0307CA753479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2513251" y="4649960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63" name="Espace réservé du texte 17">
            <a:extLst>
              <a:ext uri="{FF2B5EF4-FFF2-40B4-BE49-F238E27FC236}">
                <a16:creationId xmlns:a16="http://schemas.microsoft.com/office/drawing/2014/main" id="{41FE92FA-898C-4F5A-A71E-9D8B964E10FC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2514824" y="5113728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65" name="Espace réservé du texte 17">
            <a:extLst>
              <a:ext uri="{FF2B5EF4-FFF2-40B4-BE49-F238E27FC236}">
                <a16:creationId xmlns:a16="http://schemas.microsoft.com/office/drawing/2014/main" id="{C5654311-D660-4B29-AF0A-1981CC54CEE9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518885" y="5693073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44" name="Espace réservé du texte 17">
            <a:extLst>
              <a:ext uri="{FF2B5EF4-FFF2-40B4-BE49-F238E27FC236}">
                <a16:creationId xmlns:a16="http://schemas.microsoft.com/office/drawing/2014/main" id="{96E7A572-131B-4F3D-A86D-379293B4A63D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1518885" y="6733345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53" name="Espace réservé du texte 17">
            <a:extLst>
              <a:ext uri="{FF2B5EF4-FFF2-40B4-BE49-F238E27FC236}">
                <a16:creationId xmlns:a16="http://schemas.microsoft.com/office/drawing/2014/main" id="{85BA105D-CC21-4D86-8EAC-3B1D35E166FF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805555" y="2572245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8" name="Espace réservé du texte 17">
            <a:extLst>
              <a:ext uri="{FF2B5EF4-FFF2-40B4-BE49-F238E27FC236}">
                <a16:creationId xmlns:a16="http://schemas.microsoft.com/office/drawing/2014/main" id="{F8D9666C-06C2-4568-AFE1-5E33A958EFFF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8805555" y="3612521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71" name="Espace réservé du texte 17">
            <a:extLst>
              <a:ext uri="{FF2B5EF4-FFF2-40B4-BE49-F238E27FC236}">
                <a16:creationId xmlns:a16="http://schemas.microsoft.com/office/drawing/2014/main" id="{93AE66DF-B0A6-45B7-A2F2-B59B5C8C03BC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05555" y="4652797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74" name="Espace réservé du texte 17">
            <a:extLst>
              <a:ext uri="{FF2B5EF4-FFF2-40B4-BE49-F238E27FC236}">
                <a16:creationId xmlns:a16="http://schemas.microsoft.com/office/drawing/2014/main" id="{05BA45E7-DB40-4745-812E-41659735FD2D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8805555" y="5693073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56" name="Espace réservé du texte 17">
            <a:extLst>
              <a:ext uri="{FF2B5EF4-FFF2-40B4-BE49-F238E27FC236}">
                <a16:creationId xmlns:a16="http://schemas.microsoft.com/office/drawing/2014/main" id="{B44E60B6-D8D8-4311-9307-2FD74D1A6FE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8805555" y="6733345"/>
            <a:ext cx="688242" cy="739210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lang="en-US" sz="3500" b="0" i="0" kern="1200" noProof="0" dirty="0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975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9837">
              <a:lnSpc>
                <a:spcPct val="90000"/>
              </a:lnSpc>
              <a:spcBef>
                <a:spcPts val="525"/>
              </a:spcBef>
              <a:defRPr lang="fr-FR" sz="122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267494-10A0-8CBD-2FAA-34E62FCEAD85}"/>
              </a:ext>
            </a:extLst>
          </p:cNvPr>
          <p:cNvSpPr>
            <a:spLocks noGrp="1"/>
          </p:cNvSpPr>
          <p:nvPr>
            <p:ph type="ftr" sz="quarter" idx="13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9EF3C5-B274-8FB7-CFAD-107C73CFAD24}"/>
              </a:ext>
            </a:extLst>
          </p:cNvPr>
          <p:cNvSpPr>
            <a:spLocks noGrp="1"/>
          </p:cNvSpPr>
          <p:nvPr>
            <p:ph type="dt" sz="half" idx="131"/>
          </p:nvPr>
        </p:nvSpPr>
        <p:spPr/>
        <p:txBody>
          <a:bodyPr/>
          <a:lstStyle>
            <a:lvl1pPr>
              <a:defRPr/>
            </a:lvl1pPr>
          </a:lstStyle>
          <a:p>
            <a:fld id="{2D784B3A-2CE9-459C-B273-C10928231E8C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9BFAEB-C078-B08E-3306-219710AFEB6A}"/>
              </a:ext>
            </a:extLst>
          </p:cNvPr>
          <p:cNvSpPr>
            <a:spLocks noGrp="1"/>
          </p:cNvSpPr>
          <p:nvPr>
            <p:ph type="sldNum" sz="quarter" idx="133"/>
          </p:nvPr>
        </p:nvSpPr>
        <p:spPr/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Espace réservé du texte 17">
            <a:extLst>
              <a:ext uri="{FF2B5EF4-FFF2-40B4-BE49-F238E27FC236}">
                <a16:creationId xmlns:a16="http://schemas.microsoft.com/office/drawing/2014/main" id="{BEA0C3A5-8675-3FF0-89DF-69DD661C8DB9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2513251" y="5682818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08DF23FC-FB49-8327-F4A5-178FB06A2B2A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2514824" y="6146586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8AC92D72-79F5-6132-BDCC-BD33C5BD7966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2513251" y="6735928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3281126A-41A2-5B3A-1FA8-77F3EA3F927A}"/>
              </a:ext>
            </a:extLst>
          </p:cNvPr>
          <p:cNvSpPr>
            <a:spLocks noGrp="1"/>
          </p:cNvSpPr>
          <p:nvPr>
            <p:ph type="body" sz="quarter" idx="137" hasCustomPrompt="1"/>
          </p:nvPr>
        </p:nvSpPr>
        <p:spPr>
          <a:xfrm>
            <a:off x="2514824" y="7199695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C3A97E51-E3E0-7B39-7834-0DD056DA4237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9793196" y="2569411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87295372-B9BC-9365-FDA1-94B2E87D04AA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9794767" y="3033178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E59C78B7-6BF7-DBF5-7889-565008C9AEA0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9793196" y="3609684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893F0BFF-3744-7FDC-DA74-0E4D3DE98D06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9794767" y="4073454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E42B1777-A8CF-583D-D86E-F13E41BAC0EE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9793196" y="4649960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D76849E9-2D63-4B2B-082B-C68F707B4F6B}"/>
              </a:ext>
            </a:extLst>
          </p:cNvPr>
          <p:cNvSpPr>
            <a:spLocks noGrp="1"/>
          </p:cNvSpPr>
          <p:nvPr>
            <p:ph type="body" sz="quarter" idx="143" hasCustomPrompt="1"/>
          </p:nvPr>
        </p:nvSpPr>
        <p:spPr>
          <a:xfrm>
            <a:off x="9794767" y="5113728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C93E33F7-A7B5-4EAF-874A-64BCCA85459F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9793196" y="5682818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C129B55A-1317-32B4-45D4-DBDF594D8AAB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9794767" y="6146586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8F968D2-D73D-3739-CE5A-B643A2CF3CD1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9793196" y="6735928"/>
            <a:ext cx="5292464" cy="424268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3500" b="0" i="0" cap="none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35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28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28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fr-FR" noProof="0"/>
          </a:p>
        </p:txBody>
      </p:sp>
      <p:sp>
        <p:nvSpPr>
          <p:cNvPr id="19" name="Espace réservé du texte 17">
            <a:extLst>
              <a:ext uri="{FF2B5EF4-FFF2-40B4-BE49-F238E27FC236}">
                <a16:creationId xmlns:a16="http://schemas.microsoft.com/office/drawing/2014/main" id="{FAAC0B39-1B23-5841-AD77-466D083BD192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9794767" y="7199695"/>
            <a:ext cx="5292464" cy="270212"/>
          </a:xfrm>
        </p:spPr>
        <p:txBody>
          <a:bodyPr/>
          <a:lstStyle>
            <a:lvl1pPr>
              <a:lnSpc>
                <a:spcPct val="90000"/>
              </a:lnSpc>
              <a:spcBef>
                <a:spcPts val="1050"/>
              </a:spcBef>
              <a:defRPr sz="2450" b="0" i="0" cap="all">
                <a:solidFill>
                  <a:schemeClr val="tx1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 algn="l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105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525"/>
              </a:spcBef>
              <a:defRPr lang="fr-FR" sz="14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2264002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E8EEE40-8DCC-A126-3431-24FEFD6BAC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9912" y="3985983"/>
            <a:ext cx="8660096" cy="559973"/>
          </a:xfrm>
          <a:effectLst/>
        </p:spPr>
        <p:txBody>
          <a:bodyPr vert="horz" lIns="0" tIns="0" rIns="0" bIns="0" rtlCol="0">
            <a:noAutofit/>
          </a:bodyPr>
          <a:lstStyle>
            <a:lvl1pPr>
              <a:defRPr lang="en-GB" b="1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noProof="0"/>
              <a:t>Principal </a:t>
            </a:r>
            <a:r>
              <a:rPr lang="fr-FR" noProof="0" err="1"/>
              <a:t>chapter</a:t>
            </a:r>
            <a:r>
              <a:rPr lang="fr-FR" noProof="0"/>
              <a:t> </a:t>
            </a:r>
            <a:r>
              <a:rPr lang="fr-FR" noProof="0" err="1"/>
              <a:t>title</a:t>
            </a:r>
            <a:endParaRPr lang="en-GB" noProof="0"/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12621997" y="5458053"/>
            <a:ext cx="1689233" cy="1649915"/>
          </a:xfrm>
          <a:prstGeom prst="rect">
            <a:avLst/>
          </a:prstGeom>
        </p:spPr>
      </p:pic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39045" y="3964360"/>
            <a:ext cx="1485711" cy="581596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42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9912" y="4664012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0" kern="1200" cap="all" baseline="0" dirty="0" err="1">
                <a:solidFill>
                  <a:schemeClr val="bg2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59912" y="5223983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1" kern="1200" noProof="0" dirty="0" smtClean="0">
                <a:solidFill>
                  <a:schemeClr val="bg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marL="0" lvl="0" indent="0" algn="l" defTabSz="1199993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fr-FR" noProof="0"/>
              <a:t>Cliquez pour modifier les styles du texte du masqu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D25E0CC-CFAB-5056-6A45-8156CA26497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4769304" y="9422302"/>
            <a:ext cx="843774" cy="359987"/>
          </a:xfrm>
        </p:spPr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DAE3543C-6EC4-D123-03DD-3A11B0C1225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1602384" y="9490740"/>
            <a:ext cx="2882414" cy="291549"/>
          </a:xfrm>
        </p:spPr>
        <p:txBody>
          <a:bodyPr/>
          <a:lstStyle>
            <a:lvl1pPr>
              <a:defRPr/>
            </a:lvl1pPr>
          </a:lstStyle>
          <a:p>
            <a:fld id="{E6312DF6-B889-4E66-B157-82122424D021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F5A9496-3F34-F016-506C-E6DE286BB3B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2961929" y="9496525"/>
            <a:ext cx="7938215" cy="29155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7242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20F6A4-A7AC-0213-849B-AF3167A140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9912" y="3985983"/>
            <a:ext cx="8660096" cy="559973"/>
          </a:xfrm>
          <a:effectLst/>
        </p:spPr>
        <p:txBody>
          <a:bodyPr vert="horz" lIns="0" tIns="0" rIns="0" bIns="0" rtlCol="0">
            <a:noAutofit/>
          </a:bodyPr>
          <a:lstStyle>
            <a:lvl1pPr>
              <a:defRPr lang="en-GB" b="1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GB" noProof="0"/>
              <a:t>Principal chapter title</a:t>
            </a:r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12621997" y="5458053"/>
            <a:ext cx="1689233" cy="1649915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39045" y="3964360"/>
            <a:ext cx="1485711" cy="581596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42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9912" y="4664012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0" kern="1200" cap="all" baseline="0" dirty="0" err="1">
                <a:solidFill>
                  <a:schemeClr val="accent2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59912" y="5223983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1" kern="1200" dirty="0" err="1">
                <a:solidFill>
                  <a:schemeClr val="accent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3CAA095-8B32-A4B6-0584-91E06280A93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4769304" y="9422302"/>
            <a:ext cx="843774" cy="359987"/>
          </a:xfrm>
        </p:spPr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D2435CE4-8714-7935-116D-ECFDDEB3186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1602384" y="9490740"/>
            <a:ext cx="2882414" cy="291549"/>
          </a:xfrm>
        </p:spPr>
        <p:txBody>
          <a:bodyPr/>
          <a:lstStyle>
            <a:lvl1pPr>
              <a:defRPr/>
            </a:lvl1pPr>
          </a:lstStyle>
          <a:p>
            <a:fld id="{A94598C9-3881-42E8-8D3E-30D2DC26C028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E68326B-EE63-4BE1-923B-22E607D20AC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2961929" y="9496525"/>
            <a:ext cx="7938215" cy="29155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4644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9">
            <a:extLst>
              <a:ext uri="{FF2B5EF4-FFF2-40B4-BE49-F238E27FC236}">
                <a16:creationId xmlns:a16="http://schemas.microsoft.com/office/drawing/2014/main" id="{59D5D8F2-19F8-CC63-7CE0-9849AF58A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7188" y="2379813"/>
            <a:ext cx="6577097" cy="12597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3850" dirty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pPr marL="0" lvl="0" indent="0">
              <a:lnSpc>
                <a:spcPct val="96000"/>
              </a:lnSpc>
              <a:spcBef>
                <a:spcPts val="0"/>
              </a:spcBef>
              <a:spcAft>
                <a:spcPts val="1750"/>
              </a:spcAft>
              <a:buFont typeface="Arial" panose="020B0604020202020204" pitchFamily="34" charset="0"/>
            </a:pPr>
            <a:r>
              <a:rPr lang="fr-FR"/>
              <a:t>Modifiez le style du titre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C677BCD-ED1F-4B13-88E6-B887B50505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" y="0"/>
            <a:ext cx="8470744" cy="8999538"/>
          </a:xfrm>
          <a:custGeom>
            <a:avLst/>
            <a:gdLst>
              <a:gd name="connsiteX0" fmla="*/ 351363 w 4781135"/>
              <a:gd name="connsiteY0" fmla="*/ 4913481 h 5143500"/>
              <a:gd name="connsiteX1" fmla="*/ 331613 w 4781135"/>
              <a:gd name="connsiteY1" fmla="*/ 4933530 h 5143500"/>
              <a:gd name="connsiteX2" fmla="*/ 352237 w 4781135"/>
              <a:gd name="connsiteY2" fmla="*/ 4953582 h 5143500"/>
              <a:gd name="connsiteX3" fmla="*/ 371987 w 4781135"/>
              <a:gd name="connsiteY3" fmla="*/ 4933533 h 5143500"/>
              <a:gd name="connsiteX4" fmla="*/ 351363 w 4781135"/>
              <a:gd name="connsiteY4" fmla="*/ 4913481 h 5143500"/>
              <a:gd name="connsiteX5" fmla="*/ 891920 w 4781135"/>
              <a:gd name="connsiteY5" fmla="*/ 4837319 h 5143500"/>
              <a:gd name="connsiteX6" fmla="*/ 927648 w 4781135"/>
              <a:gd name="connsiteY6" fmla="*/ 4877990 h 5143500"/>
              <a:gd name="connsiteX7" fmla="*/ 893949 w 4781135"/>
              <a:gd name="connsiteY7" fmla="*/ 4918669 h 5143500"/>
              <a:gd name="connsiteX8" fmla="*/ 858212 w 4781135"/>
              <a:gd name="connsiteY8" fmla="*/ 4877990 h 5143500"/>
              <a:gd name="connsiteX9" fmla="*/ 891920 w 4781135"/>
              <a:gd name="connsiteY9" fmla="*/ 4837319 h 5143500"/>
              <a:gd name="connsiteX10" fmla="*/ 559545 w 4781135"/>
              <a:gd name="connsiteY10" fmla="*/ 4837319 h 5143500"/>
              <a:gd name="connsiteX11" fmla="*/ 579303 w 4781135"/>
              <a:gd name="connsiteY11" fmla="*/ 4839934 h 5143500"/>
              <a:gd name="connsiteX12" fmla="*/ 586562 w 4781135"/>
              <a:gd name="connsiteY12" fmla="*/ 4847771 h 5143500"/>
              <a:gd name="connsiteX13" fmla="*/ 586562 w 4781135"/>
              <a:gd name="connsiteY13" fmla="*/ 4908209 h 5143500"/>
              <a:gd name="connsiteX14" fmla="*/ 579303 w 4781135"/>
              <a:gd name="connsiteY14" fmla="*/ 4916053 h 5143500"/>
              <a:gd name="connsiteX15" fmla="*/ 559545 w 4781135"/>
              <a:gd name="connsiteY15" fmla="*/ 4918669 h 5143500"/>
              <a:gd name="connsiteX16" fmla="*/ 523519 w 4781135"/>
              <a:gd name="connsiteY16" fmla="*/ 4877990 h 5143500"/>
              <a:gd name="connsiteX17" fmla="*/ 559545 w 4781135"/>
              <a:gd name="connsiteY17" fmla="*/ 4837319 h 5143500"/>
              <a:gd name="connsiteX18" fmla="*/ 1101680 w 4781135"/>
              <a:gd name="connsiteY18" fmla="*/ 4805359 h 5143500"/>
              <a:gd name="connsiteX19" fmla="*/ 1095864 w 4781135"/>
              <a:gd name="connsiteY19" fmla="*/ 4811167 h 5143500"/>
              <a:gd name="connsiteX20" fmla="*/ 1095864 w 4781135"/>
              <a:gd name="connsiteY20" fmla="*/ 4944812 h 5143500"/>
              <a:gd name="connsiteX21" fmla="*/ 1101680 w 4781135"/>
              <a:gd name="connsiteY21" fmla="*/ 4950628 h 5143500"/>
              <a:gd name="connsiteX22" fmla="*/ 1127823 w 4781135"/>
              <a:gd name="connsiteY22" fmla="*/ 4950628 h 5143500"/>
              <a:gd name="connsiteX23" fmla="*/ 1133640 w 4781135"/>
              <a:gd name="connsiteY23" fmla="*/ 4944812 h 5143500"/>
              <a:gd name="connsiteX24" fmla="*/ 1133640 w 4781135"/>
              <a:gd name="connsiteY24" fmla="*/ 4811167 h 5143500"/>
              <a:gd name="connsiteX25" fmla="*/ 1127823 w 4781135"/>
              <a:gd name="connsiteY25" fmla="*/ 4805359 h 5143500"/>
              <a:gd name="connsiteX26" fmla="*/ 891920 w 4781135"/>
              <a:gd name="connsiteY26" fmla="*/ 4802455 h 5143500"/>
              <a:gd name="connsiteX27" fmla="*/ 819859 w 4781135"/>
              <a:gd name="connsiteY27" fmla="*/ 4877990 h 5143500"/>
              <a:gd name="connsiteX28" fmla="*/ 893949 w 4781135"/>
              <a:gd name="connsiteY28" fmla="*/ 4953533 h 5143500"/>
              <a:gd name="connsiteX29" fmla="*/ 966000 w 4781135"/>
              <a:gd name="connsiteY29" fmla="*/ 4877990 h 5143500"/>
              <a:gd name="connsiteX30" fmla="*/ 891920 w 4781135"/>
              <a:gd name="connsiteY30" fmla="*/ 4802455 h 5143500"/>
              <a:gd name="connsiteX31" fmla="*/ 725443 w 4781135"/>
              <a:gd name="connsiteY31" fmla="*/ 4802455 h 5143500"/>
              <a:gd name="connsiteX32" fmla="*/ 667045 w 4781135"/>
              <a:gd name="connsiteY32" fmla="*/ 4812907 h 5143500"/>
              <a:gd name="connsiteX33" fmla="*/ 659777 w 4781135"/>
              <a:gd name="connsiteY33" fmla="*/ 4824531 h 5143500"/>
              <a:gd name="connsiteX34" fmla="*/ 659777 w 4781135"/>
              <a:gd name="connsiteY34" fmla="*/ 4944812 h 5143500"/>
              <a:gd name="connsiteX35" fmla="*/ 665593 w 4781135"/>
              <a:gd name="connsiteY35" fmla="*/ 4950628 h 5143500"/>
              <a:gd name="connsiteX36" fmla="*/ 691736 w 4781135"/>
              <a:gd name="connsiteY36" fmla="*/ 4950628 h 5143500"/>
              <a:gd name="connsiteX37" fmla="*/ 697552 w 4781135"/>
              <a:gd name="connsiteY37" fmla="*/ 4944812 h 5143500"/>
              <a:gd name="connsiteX38" fmla="*/ 697552 w 4781135"/>
              <a:gd name="connsiteY38" fmla="*/ 4847194 h 5143500"/>
              <a:gd name="connsiteX39" fmla="*/ 704522 w 4781135"/>
              <a:gd name="connsiteY39" fmla="*/ 4839636 h 5143500"/>
              <a:gd name="connsiteX40" fmla="*/ 726020 w 4781135"/>
              <a:gd name="connsiteY40" fmla="*/ 4837319 h 5143500"/>
              <a:gd name="connsiteX41" fmla="*/ 754202 w 4781135"/>
              <a:gd name="connsiteY41" fmla="*/ 4862009 h 5143500"/>
              <a:gd name="connsiteX42" fmla="*/ 754202 w 4781135"/>
              <a:gd name="connsiteY42" fmla="*/ 4944812 h 5143500"/>
              <a:gd name="connsiteX43" fmla="*/ 760018 w 4781135"/>
              <a:gd name="connsiteY43" fmla="*/ 4950628 h 5143500"/>
              <a:gd name="connsiteX44" fmla="*/ 786160 w 4781135"/>
              <a:gd name="connsiteY44" fmla="*/ 4950628 h 5143500"/>
              <a:gd name="connsiteX45" fmla="*/ 791976 w 4781135"/>
              <a:gd name="connsiteY45" fmla="*/ 4944812 h 5143500"/>
              <a:gd name="connsiteX46" fmla="*/ 791976 w 4781135"/>
              <a:gd name="connsiteY46" fmla="*/ 4857068 h 5143500"/>
              <a:gd name="connsiteX47" fmla="*/ 725443 w 4781135"/>
              <a:gd name="connsiteY47" fmla="*/ 4802455 h 5143500"/>
              <a:gd name="connsiteX48" fmla="*/ 559834 w 4781135"/>
              <a:gd name="connsiteY48" fmla="*/ 4802455 h 5143500"/>
              <a:gd name="connsiteX49" fmla="*/ 485166 w 4781135"/>
              <a:gd name="connsiteY49" fmla="*/ 4877990 h 5143500"/>
              <a:gd name="connsiteX50" fmla="*/ 559256 w 4781135"/>
              <a:gd name="connsiteY50" fmla="*/ 4953533 h 5143500"/>
              <a:gd name="connsiteX51" fmla="*/ 617068 w 4781135"/>
              <a:gd name="connsiteY51" fmla="*/ 4941908 h 5143500"/>
              <a:gd name="connsiteX52" fmla="*/ 624336 w 4781135"/>
              <a:gd name="connsiteY52" fmla="*/ 4930284 h 5143500"/>
              <a:gd name="connsiteX53" fmla="*/ 624336 w 4781135"/>
              <a:gd name="connsiteY53" fmla="*/ 4824821 h 5143500"/>
              <a:gd name="connsiteX54" fmla="*/ 617068 w 4781135"/>
              <a:gd name="connsiteY54" fmla="*/ 4813204 h 5143500"/>
              <a:gd name="connsiteX55" fmla="*/ 559834 w 4781135"/>
              <a:gd name="connsiteY55" fmla="*/ 4802455 h 5143500"/>
              <a:gd name="connsiteX56" fmla="*/ 398011 w 4781135"/>
              <a:gd name="connsiteY56" fmla="*/ 4801292 h 5143500"/>
              <a:gd name="connsiteX57" fmla="*/ 334092 w 4781135"/>
              <a:gd name="connsiteY57" fmla="*/ 4853587 h 5143500"/>
              <a:gd name="connsiteX58" fmla="*/ 427643 w 4781135"/>
              <a:gd name="connsiteY58" fmla="*/ 4934063 h 5143500"/>
              <a:gd name="connsiteX59" fmla="*/ 425903 w 4781135"/>
              <a:gd name="connsiteY59" fmla="*/ 4944812 h 5143500"/>
              <a:gd name="connsiteX60" fmla="*/ 425613 w 4781135"/>
              <a:gd name="connsiteY60" fmla="*/ 4946561 h 5143500"/>
              <a:gd name="connsiteX61" fmla="*/ 429969 w 4781135"/>
              <a:gd name="connsiteY61" fmla="*/ 4950628 h 5143500"/>
              <a:gd name="connsiteX62" fmla="*/ 456121 w 4781135"/>
              <a:gd name="connsiteY62" fmla="*/ 4950628 h 5143500"/>
              <a:gd name="connsiteX63" fmla="*/ 463668 w 4781135"/>
              <a:gd name="connsiteY63" fmla="*/ 4944812 h 5143500"/>
              <a:gd name="connsiteX64" fmla="*/ 465994 w 4781135"/>
              <a:gd name="connsiteY64" fmla="*/ 4928255 h 5143500"/>
              <a:gd name="connsiteX65" fmla="*/ 372445 w 4781135"/>
              <a:gd name="connsiteY65" fmla="*/ 4850972 h 5143500"/>
              <a:gd name="connsiteX66" fmla="*/ 396847 w 4781135"/>
              <a:gd name="connsiteY66" fmla="*/ 4836444 h 5143500"/>
              <a:gd name="connsiteX67" fmla="*/ 440718 w 4781135"/>
              <a:gd name="connsiteY67" fmla="*/ 4849520 h 5143500"/>
              <a:gd name="connsiteX68" fmla="*/ 445074 w 4781135"/>
              <a:gd name="connsiteY68" fmla="*/ 4850684 h 5143500"/>
              <a:gd name="connsiteX69" fmla="*/ 451467 w 4781135"/>
              <a:gd name="connsiteY69" fmla="*/ 4846616 h 5143500"/>
              <a:gd name="connsiteX70" fmla="*/ 460476 w 4781135"/>
              <a:gd name="connsiteY70" fmla="*/ 4827435 h 5143500"/>
              <a:gd name="connsiteX71" fmla="*/ 461639 w 4781135"/>
              <a:gd name="connsiteY71" fmla="*/ 4822502 h 5143500"/>
              <a:gd name="connsiteX72" fmla="*/ 458150 w 4781135"/>
              <a:gd name="connsiteY72" fmla="*/ 4816686 h 5143500"/>
              <a:gd name="connsiteX73" fmla="*/ 398011 w 4781135"/>
              <a:gd name="connsiteY73" fmla="*/ 4801292 h 5143500"/>
              <a:gd name="connsiteX74" fmla="*/ 1053743 w 4781135"/>
              <a:gd name="connsiteY74" fmla="*/ 4747249 h 5143500"/>
              <a:gd name="connsiteX75" fmla="*/ 994181 w 4781135"/>
              <a:gd name="connsiteY75" fmla="*/ 4808264 h 5143500"/>
              <a:gd name="connsiteX76" fmla="*/ 994181 w 4781135"/>
              <a:gd name="connsiteY76" fmla="*/ 4944812 h 5143500"/>
              <a:gd name="connsiteX77" fmla="*/ 999997 w 4781135"/>
              <a:gd name="connsiteY77" fmla="*/ 4950628 h 5143500"/>
              <a:gd name="connsiteX78" fmla="*/ 1025851 w 4781135"/>
              <a:gd name="connsiteY78" fmla="*/ 4950628 h 5143500"/>
              <a:gd name="connsiteX79" fmla="*/ 1031659 w 4781135"/>
              <a:gd name="connsiteY79" fmla="*/ 4944812 h 5143500"/>
              <a:gd name="connsiteX80" fmla="*/ 1031659 w 4781135"/>
              <a:gd name="connsiteY80" fmla="*/ 4837319 h 5143500"/>
              <a:gd name="connsiteX81" fmla="*/ 1068558 w 4781135"/>
              <a:gd name="connsiteY81" fmla="*/ 4837319 h 5143500"/>
              <a:gd name="connsiteX82" fmla="*/ 1074366 w 4781135"/>
              <a:gd name="connsiteY82" fmla="*/ 4831502 h 5143500"/>
              <a:gd name="connsiteX83" fmla="*/ 1074366 w 4781135"/>
              <a:gd name="connsiteY83" fmla="*/ 4811456 h 5143500"/>
              <a:gd name="connsiteX84" fmla="*/ 1068558 w 4781135"/>
              <a:gd name="connsiteY84" fmla="*/ 4805359 h 5143500"/>
              <a:gd name="connsiteX85" fmla="*/ 1031659 w 4781135"/>
              <a:gd name="connsiteY85" fmla="*/ 4805359 h 5143500"/>
              <a:gd name="connsiteX86" fmla="*/ 1031659 w 4781135"/>
              <a:gd name="connsiteY86" fmla="*/ 4802158 h 5143500"/>
              <a:gd name="connsiteX87" fmla="*/ 1054617 w 4781135"/>
              <a:gd name="connsiteY87" fmla="*/ 4778045 h 5143500"/>
              <a:gd name="connsiteX88" fmla="*/ 1068848 w 4781135"/>
              <a:gd name="connsiteY88" fmla="*/ 4779497 h 5143500"/>
              <a:gd name="connsiteX89" fmla="*/ 1074366 w 4781135"/>
              <a:gd name="connsiteY89" fmla="*/ 4773977 h 5143500"/>
              <a:gd name="connsiteX90" fmla="*/ 1077278 w 4781135"/>
              <a:gd name="connsiteY90" fmla="*/ 4758872 h 5143500"/>
              <a:gd name="connsiteX91" fmla="*/ 1077856 w 4781135"/>
              <a:gd name="connsiteY91" fmla="*/ 4755094 h 5143500"/>
              <a:gd name="connsiteX92" fmla="*/ 1072048 w 4781135"/>
              <a:gd name="connsiteY92" fmla="*/ 4749285 h 5143500"/>
              <a:gd name="connsiteX93" fmla="*/ 1053743 w 4781135"/>
              <a:gd name="connsiteY93" fmla="*/ 4747249 h 5143500"/>
              <a:gd name="connsiteX94" fmla="*/ 1115151 w 4781135"/>
              <a:gd name="connsiteY94" fmla="*/ 4747131 h 5143500"/>
              <a:gd name="connsiteX95" fmla="*/ 1095104 w 4781135"/>
              <a:gd name="connsiteY95" fmla="*/ 4767478 h 5143500"/>
              <a:gd name="connsiteX96" fmla="*/ 1116017 w 4781135"/>
              <a:gd name="connsiteY96" fmla="*/ 4787818 h 5143500"/>
              <a:gd name="connsiteX97" fmla="*/ 1136065 w 4781135"/>
              <a:gd name="connsiteY97" fmla="*/ 4767481 h 5143500"/>
              <a:gd name="connsiteX98" fmla="*/ 1115151 w 4781135"/>
              <a:gd name="connsiteY98" fmla="*/ 4747131 h 5143500"/>
              <a:gd name="connsiteX99" fmla="*/ 0 w 4781135"/>
              <a:gd name="connsiteY99" fmla="*/ 0 h 5143500"/>
              <a:gd name="connsiteX100" fmla="*/ 3673235 w 4781135"/>
              <a:gd name="connsiteY100" fmla="*/ 0 h 5143500"/>
              <a:gd name="connsiteX101" fmla="*/ 3843349 w 4781135"/>
              <a:gd name="connsiteY101" fmla="*/ 145970 h 5143500"/>
              <a:gd name="connsiteX102" fmla="*/ 4781135 w 4781135"/>
              <a:gd name="connsiteY102" fmla="*/ 2622891 h 5143500"/>
              <a:gd name="connsiteX103" fmla="*/ 3861453 w 4781135"/>
              <a:gd name="connsiteY103" fmla="*/ 5081299 h 5143500"/>
              <a:gd name="connsiteX104" fmla="*/ 3792118 w 4781135"/>
              <a:gd name="connsiteY104" fmla="*/ 5143500 h 5143500"/>
              <a:gd name="connsiteX105" fmla="*/ 0 w 4781135"/>
              <a:gd name="connsiteY10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4781135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5" y="4921039"/>
                  <a:pt x="364153" y="4913482"/>
                  <a:pt x="351363" y="4913481"/>
                </a:cubicBezTo>
                <a:close/>
                <a:moveTo>
                  <a:pt x="891920" y="4837319"/>
                </a:moveTo>
                <a:cubicBezTo>
                  <a:pt x="913418" y="4837319"/>
                  <a:pt x="927648" y="4851260"/>
                  <a:pt x="927648" y="4877990"/>
                </a:cubicBezTo>
                <a:cubicBezTo>
                  <a:pt x="927648" y="4904719"/>
                  <a:pt x="913418" y="4918669"/>
                  <a:pt x="893949" y="4918669"/>
                </a:cubicBezTo>
                <a:cubicBezTo>
                  <a:pt x="872451" y="4918669"/>
                  <a:pt x="858212" y="4904719"/>
                  <a:pt x="858212" y="4877990"/>
                </a:cubicBezTo>
                <a:cubicBezTo>
                  <a:pt x="858212" y="4851260"/>
                  <a:pt x="872451" y="4837319"/>
                  <a:pt x="891920" y="4837319"/>
                </a:cubicBezTo>
                <a:close/>
                <a:moveTo>
                  <a:pt x="559545" y="4837319"/>
                </a:moveTo>
                <a:cubicBezTo>
                  <a:pt x="567390" y="4837319"/>
                  <a:pt x="572909" y="4838184"/>
                  <a:pt x="579303" y="4839934"/>
                </a:cubicBezTo>
                <a:cubicBezTo>
                  <a:pt x="584244" y="4841386"/>
                  <a:pt x="586562" y="4843414"/>
                  <a:pt x="586562" y="4847771"/>
                </a:cubicBezTo>
                <a:lnTo>
                  <a:pt x="586562" y="4908209"/>
                </a:lnTo>
                <a:cubicBezTo>
                  <a:pt x="586562" y="4912564"/>
                  <a:pt x="584244" y="4914601"/>
                  <a:pt x="579303" y="4916053"/>
                </a:cubicBezTo>
                <a:cubicBezTo>
                  <a:pt x="572909" y="4917794"/>
                  <a:pt x="567390" y="4918669"/>
                  <a:pt x="559545" y="4918669"/>
                </a:cubicBezTo>
                <a:cubicBezTo>
                  <a:pt x="540950" y="4918669"/>
                  <a:pt x="523519" y="4907623"/>
                  <a:pt x="523519" y="4877990"/>
                </a:cubicBezTo>
                <a:cubicBezTo>
                  <a:pt x="523519" y="4848356"/>
                  <a:pt x="540950" y="4837319"/>
                  <a:pt x="559545" y="4837319"/>
                </a:cubicBezTo>
                <a:close/>
                <a:moveTo>
                  <a:pt x="1101680" y="4805359"/>
                </a:moveTo>
                <a:cubicBezTo>
                  <a:pt x="1098191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1" y="4950628"/>
                  <a:pt x="1101680" y="4950628"/>
                </a:cubicBezTo>
                <a:lnTo>
                  <a:pt x="1127823" y="4950628"/>
                </a:lnTo>
                <a:cubicBezTo>
                  <a:pt x="1131313" y="4950628"/>
                  <a:pt x="1133640" y="4948301"/>
                  <a:pt x="1133640" y="4944812"/>
                </a:cubicBezTo>
                <a:lnTo>
                  <a:pt x="1133640" y="4811167"/>
                </a:lnTo>
                <a:cubicBezTo>
                  <a:pt x="1133640" y="4807677"/>
                  <a:pt x="1131313" y="4805359"/>
                  <a:pt x="1127823" y="4805359"/>
                </a:cubicBez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37531" y="4953533"/>
                  <a:pt x="966000" y="4921862"/>
                  <a:pt x="966000" y="4877990"/>
                </a:cubicBezTo>
                <a:cubicBezTo>
                  <a:pt x="966000" y="4834118"/>
                  <a:pt x="937531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cubicBezTo>
                  <a:pt x="662977" y="4814359"/>
                  <a:pt x="659777" y="4817849"/>
                  <a:pt x="659777" y="4824531"/>
                </a:cubicBez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cubicBezTo>
                  <a:pt x="697552" y="4842838"/>
                  <a:pt x="699870" y="4840800"/>
                  <a:pt x="704522" y="4839636"/>
                </a:cubicBezTo>
                <a:cubicBezTo>
                  <a:pt x="712079" y="4837896"/>
                  <a:pt x="717012" y="4837319"/>
                  <a:pt x="726020" y="4837319"/>
                </a:cubicBezTo>
                <a:cubicBezTo>
                  <a:pt x="741711" y="4837319"/>
                  <a:pt x="754202" y="4844578"/>
                  <a:pt x="754202" y="4862009"/>
                </a:cubicBez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857068"/>
                </a:lnTo>
                <a:cubicBezTo>
                  <a:pt x="791976" y="4821627"/>
                  <a:pt x="770181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15971" y="4802455"/>
                  <a:pt x="485166" y="4831799"/>
                  <a:pt x="485166" y="4877990"/>
                </a:cubicBezTo>
                <a:cubicBezTo>
                  <a:pt x="485166" y="4924766"/>
                  <a:pt x="511896" y="4953533"/>
                  <a:pt x="559256" y="4953533"/>
                </a:cubicBezTo>
                <a:cubicBezTo>
                  <a:pt x="578427" y="4953533"/>
                  <a:pt x="597022" y="4950331"/>
                  <a:pt x="617068" y="4941908"/>
                </a:cubicBezTo>
                <a:cubicBezTo>
                  <a:pt x="621722" y="4939879"/>
                  <a:pt x="624336" y="4936678"/>
                  <a:pt x="624336" y="4930284"/>
                </a:cubicBezTo>
                <a:lnTo>
                  <a:pt x="624336" y="4824821"/>
                </a:lnTo>
                <a:cubicBezTo>
                  <a:pt x="624336" y="4818138"/>
                  <a:pt x="621722" y="4814946"/>
                  <a:pt x="617068" y="4813204"/>
                </a:cubicBezTo>
                <a:cubicBezTo>
                  <a:pt x="597897" y="4805936"/>
                  <a:pt x="579879" y="4802455"/>
                  <a:pt x="559834" y="4802455"/>
                </a:cubicBezTo>
                <a:close/>
                <a:moveTo>
                  <a:pt x="398011" y="4801292"/>
                </a:moveTo>
                <a:cubicBezTo>
                  <a:pt x="359080" y="4801292"/>
                  <a:pt x="334092" y="4822205"/>
                  <a:pt x="334092" y="4853587"/>
                </a:cubicBezTo>
                <a:cubicBezTo>
                  <a:pt x="334092" y="4915179"/>
                  <a:pt x="427643" y="4891337"/>
                  <a:pt x="427643" y="4934063"/>
                </a:cubicBezTo>
                <a:cubicBezTo>
                  <a:pt x="427643" y="4938419"/>
                  <a:pt x="427065" y="4941033"/>
                  <a:pt x="425903" y="4944812"/>
                </a:cubicBezTo>
                <a:cubicBezTo>
                  <a:pt x="425613" y="4945398"/>
                  <a:pt x="425613" y="4945975"/>
                  <a:pt x="425613" y="4946561"/>
                </a:cubicBezTo>
                <a:cubicBezTo>
                  <a:pt x="425613" y="4948879"/>
                  <a:pt x="427065" y="4950628"/>
                  <a:pt x="429969" y="4950628"/>
                </a:cubicBez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4" y="4933196"/>
                  <a:pt x="465994" y="4928255"/>
                </a:cubicBezTo>
                <a:cubicBezTo>
                  <a:pt x="465994" y="4862299"/>
                  <a:pt x="372445" y="4878177"/>
                  <a:pt x="372445" y="4850972"/>
                </a:cubicBezTo>
                <a:cubicBezTo>
                  <a:pt x="372445" y="4842074"/>
                  <a:pt x="381454" y="4836444"/>
                  <a:pt x="396847" y="4836444"/>
                </a:cubicBezTo>
                <a:cubicBezTo>
                  <a:pt x="411664" y="4836444"/>
                  <a:pt x="425903" y="4841386"/>
                  <a:pt x="440718" y="4849520"/>
                </a:cubicBezTo>
                <a:cubicBezTo>
                  <a:pt x="442170" y="4850386"/>
                  <a:pt x="443622" y="4850684"/>
                  <a:pt x="445074" y="4850684"/>
                </a:cubicBez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6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cubicBezTo>
                  <a:pt x="1029340" y="4950628"/>
                  <a:pt x="1031659" y="4948301"/>
                  <a:pt x="1031659" y="4944812"/>
                </a:cubicBezTo>
                <a:lnTo>
                  <a:pt x="1031659" y="4837319"/>
                </a:lnTo>
                <a:lnTo>
                  <a:pt x="1068558" y="4837319"/>
                </a:lnTo>
                <a:cubicBezTo>
                  <a:pt x="1072338" y="4837319"/>
                  <a:pt x="1074366" y="4834992"/>
                  <a:pt x="1074366" y="4831502"/>
                </a:cubicBezTo>
                <a:lnTo>
                  <a:pt x="1074366" y="4811456"/>
                </a:lnTo>
                <a:cubicBezTo>
                  <a:pt x="1074366" y="4807677"/>
                  <a:pt x="1072338" y="4805359"/>
                  <a:pt x="1068558" y="4805359"/>
                </a:cubicBezTo>
                <a:lnTo>
                  <a:pt x="1031659" y="4805359"/>
                </a:lnTo>
                <a:lnTo>
                  <a:pt x="1031659" y="4802158"/>
                </a:lnTo>
                <a:cubicBezTo>
                  <a:pt x="1031659" y="4786179"/>
                  <a:pt x="1038637" y="4778045"/>
                  <a:pt x="1054617" y="4778045"/>
                </a:cubicBezTo>
                <a:cubicBezTo>
                  <a:pt x="1060425" y="4778045"/>
                  <a:pt x="1066682" y="4779497"/>
                  <a:pt x="1068848" y="4779497"/>
                </a:cubicBezTo>
                <a:cubicBezTo>
                  <a:pt x="1072338" y="4779497"/>
                  <a:pt x="1073790" y="4777467"/>
                  <a:pt x="1074366" y="4773977"/>
                </a:cubicBezTo>
                <a:lnTo>
                  <a:pt x="1077278" y="4758872"/>
                </a:lnTo>
                <a:cubicBezTo>
                  <a:pt x="1077533" y="4757531"/>
                  <a:pt x="1077856" y="4756351"/>
                  <a:pt x="1077856" y="4755094"/>
                </a:cubicBezTo>
                <a:cubicBezTo>
                  <a:pt x="1077856" y="4751868"/>
                  <a:pt x="1076116" y="4750152"/>
                  <a:pt x="1072048" y="4749285"/>
                </a:cubicBez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2" y="4787817"/>
                  <a:pt x="1136070" y="4779974"/>
                  <a:pt x="1136065" y="4767481"/>
                </a:cubicBezTo>
                <a:cubicBezTo>
                  <a:pt x="1136070" y="4754690"/>
                  <a:pt x="1127932" y="4747137"/>
                  <a:pt x="1115151" y="4747131"/>
                </a:cubicBezTo>
                <a:close/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F6585BF-F3F3-4500-9CFA-EF0D9041ED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07188" y="5768592"/>
            <a:ext cx="6577097" cy="932409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750"/>
              </a:spcAft>
              <a:defRPr lang="fr-FR" sz="245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77"/>
              </a:defRPr>
            </a:lvl1pPr>
            <a:lvl2pPr algn="l">
              <a:lnSpc>
                <a:spcPct val="90000"/>
              </a:lnSpc>
              <a:defRPr lang="en-US" sz="245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750"/>
              </a:spcBef>
              <a:defRPr lang="en-US" sz="245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marL="0" lvl="0" indent="0" algn="l" defTabSz="1199993" rtl="0" eaLnBrk="1" latinLnBrk="0" hangingPunct="1">
              <a:lnSpc>
                <a:spcPct val="100000"/>
              </a:lnSpc>
              <a:spcBef>
                <a:spcPts val="1750"/>
              </a:spcBef>
              <a:buFont typeface="Arial" panose="020B0604020202020204" pitchFamily="34" charset="0"/>
              <a:buNone/>
            </a:pPr>
            <a:r>
              <a:rPr lang="fr-FR" noProof="0"/>
              <a:t>Cliquez pour modifier les styles du texte du masque</a:t>
            </a:r>
          </a:p>
        </p:txBody>
      </p:sp>
      <p:grpSp>
        <p:nvGrpSpPr>
          <p:cNvPr id="25" name="Graphique 7">
            <a:extLst>
              <a:ext uri="{FF2B5EF4-FFF2-40B4-BE49-F238E27FC236}">
                <a16:creationId xmlns:a16="http://schemas.microsoft.com/office/drawing/2014/main" id="{97899234-8C0A-45D6-866A-B4761ECE529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7541" y="8306040"/>
            <a:ext cx="1424253" cy="3609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30" name="Forme libre : forme 9">
              <a:extLst>
                <a:ext uri="{FF2B5EF4-FFF2-40B4-BE49-F238E27FC236}">
                  <a16:creationId xmlns:a16="http://schemas.microsoft.com/office/drawing/2014/main" id="{C67ECF22-6217-458A-858C-24E3128A9356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  <p:sp>
          <p:nvSpPr>
            <p:cNvPr id="31" name="Forme libre : forme 10">
              <a:extLst>
                <a:ext uri="{FF2B5EF4-FFF2-40B4-BE49-F238E27FC236}">
                  <a16:creationId xmlns:a16="http://schemas.microsoft.com/office/drawing/2014/main" id="{6297ECCB-4021-462B-9058-6BB3DB8689E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rgbClr val="7A00E6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solidFill>
                  <a:schemeClr val="accent2"/>
                </a:solidFill>
                <a:latin typeface="Sanofi Sans" panose="02010503030201020103" pitchFamily="2" charset="0"/>
              </a:endParaRPr>
            </a:p>
          </p:txBody>
        </p:sp>
        <p:sp>
          <p:nvSpPr>
            <p:cNvPr id="32" name="Forme libre : forme 11">
              <a:extLst>
                <a:ext uri="{FF2B5EF4-FFF2-40B4-BE49-F238E27FC236}">
                  <a16:creationId xmlns:a16="http://schemas.microsoft.com/office/drawing/2014/main" id="{BC37E971-C0A4-4F41-A0F5-C70B56A46C8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rgbClr val="7A00E6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DBFB92-0752-F65E-53E3-34B3DC8F0C7D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0850212" y="8446347"/>
            <a:ext cx="2882414" cy="29154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9E2FE69E-8E91-48E1-AA18-533F73929309}" type="datetime1">
              <a:rPr lang="en-US" smtClean="0"/>
              <a:pPr/>
              <a:t>5/22/2026</a:t>
            </a:fld>
            <a:endParaRPr lang="en-US"/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10AAF7E7-E836-DE96-8CC7-F78D02A7358F}"/>
              </a:ext>
            </a:extLst>
          </p:cNvPr>
          <p:cNvCxnSpPr>
            <a:cxnSpLocks/>
          </p:cNvCxnSpPr>
          <p:nvPr userDrawn="1"/>
        </p:nvCxnSpPr>
        <p:spPr>
          <a:xfrm>
            <a:off x="-985524" y="279986"/>
            <a:ext cx="8840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4B57CE17-2737-D916-02FE-A4D5C1AC5BFB}"/>
              </a:ext>
            </a:extLst>
          </p:cNvPr>
          <p:cNvSpPr txBox="1"/>
          <p:nvPr userDrawn="1"/>
        </p:nvSpPr>
        <p:spPr>
          <a:xfrm>
            <a:off x="-4317094" y="79850"/>
            <a:ext cx="3164598" cy="7794441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0"/>
              </a:rPr>
              <a:t>How to add an imag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0"/>
              </a:rPr>
              <a:t>Click on the icon inside the image placehold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0"/>
              </a:rPr>
              <a:t>Select the image you want to use from your comput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0"/>
              </a:rPr>
              <a:t>Click “Open”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0"/>
              </a:rPr>
              <a:t>Adjust or crop the image if necessary by using the button “Crop” in the top ribbon.</a:t>
            </a:r>
          </a:p>
          <a:p>
            <a:pPr marL="299998" indent="-299998">
              <a:buFontTx/>
              <a:buChar char="-"/>
            </a:pPr>
            <a:endParaRPr lang="en-US" sz="1925">
              <a:latin typeface="Sanofi Sans" panose="02010503030201020103" pitchFamily="2" charset="0"/>
            </a:endParaRPr>
          </a:p>
          <a:p>
            <a:pPr marL="0" indent="0">
              <a:buFontTx/>
              <a:buNone/>
            </a:pPr>
            <a:endParaRPr lang="en-US" sz="1925">
              <a:latin typeface="Sanofi Sans" panose="02010503030201020103" pitchFamily="2" charset="0"/>
            </a:endParaRPr>
          </a:p>
          <a:p>
            <a:endParaRPr lang="en-US" sz="1925">
              <a:latin typeface="Sanofi Sans" panose="02010503030201020103" pitchFamily="2" charset="0"/>
            </a:endParaRPr>
          </a:p>
          <a:p>
            <a:endParaRPr lang="en-US" sz="1925">
              <a:latin typeface="Sanofi Sans" panose="02010503030201020103" pitchFamily="2" charset="0"/>
            </a:endParaRPr>
          </a:p>
          <a:p>
            <a:r>
              <a:rPr lang="en-US" sz="1925" b="1">
                <a:latin typeface="Sanofi Sans" panose="02010503030201020103" pitchFamily="2" charset="0"/>
              </a:rPr>
              <a:t>Add Alt Text or mark as decorativ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0"/>
              </a:rPr>
              <a:t>Right click on the image and select “View Alt Text”.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0"/>
              </a:rPr>
              <a:t>Type in the blank field that appears on the right of the slide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0"/>
              </a:rPr>
              <a:t>If Alt Text isn’t relevant, tick the box to “Mark element as decorative”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4B5C1F-8BF7-4616-EF00-8A5E2F9E7A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843247" y="4387518"/>
            <a:ext cx="544066" cy="1088389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7A2170FC-ABAF-4B50-AEAF-334A36751B0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4769304" y="9422302"/>
            <a:ext cx="843774" cy="359987"/>
          </a:xfrm>
        </p:spPr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25254E2C-2335-EA74-F31E-FB108F299E0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2961929" y="9496525"/>
            <a:ext cx="7938215" cy="29155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BEE8F7E-C2CE-56AF-97FC-2BB69D8BCEB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07185" y="3919247"/>
            <a:ext cx="6577097" cy="1555475"/>
          </a:xfrm>
        </p:spPr>
        <p:txBody>
          <a:bodyPr/>
          <a:lstStyle>
            <a:lvl1pPr>
              <a:lnSpc>
                <a:spcPct val="90000"/>
              </a:lnSpc>
              <a:defRPr sz="5600" b="0" i="1">
                <a:solidFill>
                  <a:schemeClr val="bg1"/>
                </a:solidFill>
                <a:latin typeface="Sanofi Serif" panose="02060503060201090102" pitchFamily="18" charset="77"/>
              </a:defRPr>
            </a:lvl1pPr>
          </a:lstStyle>
          <a:p>
            <a:pPr lvl="0"/>
            <a:r>
              <a:rPr lang="fr-FR"/>
              <a:t>Principal </a:t>
            </a:r>
            <a:br>
              <a:rPr lang="fr-FR"/>
            </a:br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98852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ver Image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C677BCD-ED1F-4B13-88E6-B887B50505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" y="0"/>
            <a:ext cx="8470744" cy="8999538"/>
          </a:xfrm>
          <a:custGeom>
            <a:avLst/>
            <a:gdLst>
              <a:gd name="connsiteX0" fmla="*/ 351363 w 4781135"/>
              <a:gd name="connsiteY0" fmla="*/ 4913481 h 5143500"/>
              <a:gd name="connsiteX1" fmla="*/ 331613 w 4781135"/>
              <a:gd name="connsiteY1" fmla="*/ 4933530 h 5143500"/>
              <a:gd name="connsiteX2" fmla="*/ 352237 w 4781135"/>
              <a:gd name="connsiteY2" fmla="*/ 4953582 h 5143500"/>
              <a:gd name="connsiteX3" fmla="*/ 371987 w 4781135"/>
              <a:gd name="connsiteY3" fmla="*/ 4933533 h 5143500"/>
              <a:gd name="connsiteX4" fmla="*/ 351363 w 4781135"/>
              <a:gd name="connsiteY4" fmla="*/ 4913481 h 5143500"/>
              <a:gd name="connsiteX5" fmla="*/ 891920 w 4781135"/>
              <a:gd name="connsiteY5" fmla="*/ 4837319 h 5143500"/>
              <a:gd name="connsiteX6" fmla="*/ 927648 w 4781135"/>
              <a:gd name="connsiteY6" fmla="*/ 4877990 h 5143500"/>
              <a:gd name="connsiteX7" fmla="*/ 893949 w 4781135"/>
              <a:gd name="connsiteY7" fmla="*/ 4918669 h 5143500"/>
              <a:gd name="connsiteX8" fmla="*/ 858212 w 4781135"/>
              <a:gd name="connsiteY8" fmla="*/ 4877990 h 5143500"/>
              <a:gd name="connsiteX9" fmla="*/ 891920 w 4781135"/>
              <a:gd name="connsiteY9" fmla="*/ 4837319 h 5143500"/>
              <a:gd name="connsiteX10" fmla="*/ 559545 w 4781135"/>
              <a:gd name="connsiteY10" fmla="*/ 4837319 h 5143500"/>
              <a:gd name="connsiteX11" fmla="*/ 579303 w 4781135"/>
              <a:gd name="connsiteY11" fmla="*/ 4839934 h 5143500"/>
              <a:gd name="connsiteX12" fmla="*/ 586562 w 4781135"/>
              <a:gd name="connsiteY12" fmla="*/ 4847771 h 5143500"/>
              <a:gd name="connsiteX13" fmla="*/ 586562 w 4781135"/>
              <a:gd name="connsiteY13" fmla="*/ 4908209 h 5143500"/>
              <a:gd name="connsiteX14" fmla="*/ 579303 w 4781135"/>
              <a:gd name="connsiteY14" fmla="*/ 4916053 h 5143500"/>
              <a:gd name="connsiteX15" fmla="*/ 559545 w 4781135"/>
              <a:gd name="connsiteY15" fmla="*/ 4918669 h 5143500"/>
              <a:gd name="connsiteX16" fmla="*/ 523519 w 4781135"/>
              <a:gd name="connsiteY16" fmla="*/ 4877990 h 5143500"/>
              <a:gd name="connsiteX17" fmla="*/ 559545 w 4781135"/>
              <a:gd name="connsiteY17" fmla="*/ 4837319 h 5143500"/>
              <a:gd name="connsiteX18" fmla="*/ 1101680 w 4781135"/>
              <a:gd name="connsiteY18" fmla="*/ 4805359 h 5143500"/>
              <a:gd name="connsiteX19" fmla="*/ 1095864 w 4781135"/>
              <a:gd name="connsiteY19" fmla="*/ 4811167 h 5143500"/>
              <a:gd name="connsiteX20" fmla="*/ 1095864 w 4781135"/>
              <a:gd name="connsiteY20" fmla="*/ 4944812 h 5143500"/>
              <a:gd name="connsiteX21" fmla="*/ 1101680 w 4781135"/>
              <a:gd name="connsiteY21" fmla="*/ 4950628 h 5143500"/>
              <a:gd name="connsiteX22" fmla="*/ 1127823 w 4781135"/>
              <a:gd name="connsiteY22" fmla="*/ 4950628 h 5143500"/>
              <a:gd name="connsiteX23" fmla="*/ 1133640 w 4781135"/>
              <a:gd name="connsiteY23" fmla="*/ 4944812 h 5143500"/>
              <a:gd name="connsiteX24" fmla="*/ 1133640 w 4781135"/>
              <a:gd name="connsiteY24" fmla="*/ 4811167 h 5143500"/>
              <a:gd name="connsiteX25" fmla="*/ 1127823 w 4781135"/>
              <a:gd name="connsiteY25" fmla="*/ 4805359 h 5143500"/>
              <a:gd name="connsiteX26" fmla="*/ 891920 w 4781135"/>
              <a:gd name="connsiteY26" fmla="*/ 4802455 h 5143500"/>
              <a:gd name="connsiteX27" fmla="*/ 819859 w 4781135"/>
              <a:gd name="connsiteY27" fmla="*/ 4877990 h 5143500"/>
              <a:gd name="connsiteX28" fmla="*/ 893949 w 4781135"/>
              <a:gd name="connsiteY28" fmla="*/ 4953533 h 5143500"/>
              <a:gd name="connsiteX29" fmla="*/ 966000 w 4781135"/>
              <a:gd name="connsiteY29" fmla="*/ 4877990 h 5143500"/>
              <a:gd name="connsiteX30" fmla="*/ 891920 w 4781135"/>
              <a:gd name="connsiteY30" fmla="*/ 4802455 h 5143500"/>
              <a:gd name="connsiteX31" fmla="*/ 725443 w 4781135"/>
              <a:gd name="connsiteY31" fmla="*/ 4802455 h 5143500"/>
              <a:gd name="connsiteX32" fmla="*/ 667045 w 4781135"/>
              <a:gd name="connsiteY32" fmla="*/ 4812907 h 5143500"/>
              <a:gd name="connsiteX33" fmla="*/ 659777 w 4781135"/>
              <a:gd name="connsiteY33" fmla="*/ 4824531 h 5143500"/>
              <a:gd name="connsiteX34" fmla="*/ 659777 w 4781135"/>
              <a:gd name="connsiteY34" fmla="*/ 4944812 h 5143500"/>
              <a:gd name="connsiteX35" fmla="*/ 665593 w 4781135"/>
              <a:gd name="connsiteY35" fmla="*/ 4950628 h 5143500"/>
              <a:gd name="connsiteX36" fmla="*/ 691736 w 4781135"/>
              <a:gd name="connsiteY36" fmla="*/ 4950628 h 5143500"/>
              <a:gd name="connsiteX37" fmla="*/ 697552 w 4781135"/>
              <a:gd name="connsiteY37" fmla="*/ 4944812 h 5143500"/>
              <a:gd name="connsiteX38" fmla="*/ 697552 w 4781135"/>
              <a:gd name="connsiteY38" fmla="*/ 4847194 h 5143500"/>
              <a:gd name="connsiteX39" fmla="*/ 704522 w 4781135"/>
              <a:gd name="connsiteY39" fmla="*/ 4839636 h 5143500"/>
              <a:gd name="connsiteX40" fmla="*/ 726020 w 4781135"/>
              <a:gd name="connsiteY40" fmla="*/ 4837319 h 5143500"/>
              <a:gd name="connsiteX41" fmla="*/ 754202 w 4781135"/>
              <a:gd name="connsiteY41" fmla="*/ 4862009 h 5143500"/>
              <a:gd name="connsiteX42" fmla="*/ 754202 w 4781135"/>
              <a:gd name="connsiteY42" fmla="*/ 4944812 h 5143500"/>
              <a:gd name="connsiteX43" fmla="*/ 760018 w 4781135"/>
              <a:gd name="connsiteY43" fmla="*/ 4950628 h 5143500"/>
              <a:gd name="connsiteX44" fmla="*/ 786160 w 4781135"/>
              <a:gd name="connsiteY44" fmla="*/ 4950628 h 5143500"/>
              <a:gd name="connsiteX45" fmla="*/ 791976 w 4781135"/>
              <a:gd name="connsiteY45" fmla="*/ 4944812 h 5143500"/>
              <a:gd name="connsiteX46" fmla="*/ 791976 w 4781135"/>
              <a:gd name="connsiteY46" fmla="*/ 4857068 h 5143500"/>
              <a:gd name="connsiteX47" fmla="*/ 725443 w 4781135"/>
              <a:gd name="connsiteY47" fmla="*/ 4802455 h 5143500"/>
              <a:gd name="connsiteX48" fmla="*/ 559834 w 4781135"/>
              <a:gd name="connsiteY48" fmla="*/ 4802455 h 5143500"/>
              <a:gd name="connsiteX49" fmla="*/ 485166 w 4781135"/>
              <a:gd name="connsiteY49" fmla="*/ 4877990 h 5143500"/>
              <a:gd name="connsiteX50" fmla="*/ 559256 w 4781135"/>
              <a:gd name="connsiteY50" fmla="*/ 4953533 h 5143500"/>
              <a:gd name="connsiteX51" fmla="*/ 617068 w 4781135"/>
              <a:gd name="connsiteY51" fmla="*/ 4941908 h 5143500"/>
              <a:gd name="connsiteX52" fmla="*/ 624336 w 4781135"/>
              <a:gd name="connsiteY52" fmla="*/ 4930284 h 5143500"/>
              <a:gd name="connsiteX53" fmla="*/ 624336 w 4781135"/>
              <a:gd name="connsiteY53" fmla="*/ 4824821 h 5143500"/>
              <a:gd name="connsiteX54" fmla="*/ 617068 w 4781135"/>
              <a:gd name="connsiteY54" fmla="*/ 4813204 h 5143500"/>
              <a:gd name="connsiteX55" fmla="*/ 559834 w 4781135"/>
              <a:gd name="connsiteY55" fmla="*/ 4802455 h 5143500"/>
              <a:gd name="connsiteX56" fmla="*/ 398011 w 4781135"/>
              <a:gd name="connsiteY56" fmla="*/ 4801292 h 5143500"/>
              <a:gd name="connsiteX57" fmla="*/ 334092 w 4781135"/>
              <a:gd name="connsiteY57" fmla="*/ 4853587 h 5143500"/>
              <a:gd name="connsiteX58" fmla="*/ 427643 w 4781135"/>
              <a:gd name="connsiteY58" fmla="*/ 4934063 h 5143500"/>
              <a:gd name="connsiteX59" fmla="*/ 425903 w 4781135"/>
              <a:gd name="connsiteY59" fmla="*/ 4944812 h 5143500"/>
              <a:gd name="connsiteX60" fmla="*/ 425613 w 4781135"/>
              <a:gd name="connsiteY60" fmla="*/ 4946561 h 5143500"/>
              <a:gd name="connsiteX61" fmla="*/ 429969 w 4781135"/>
              <a:gd name="connsiteY61" fmla="*/ 4950628 h 5143500"/>
              <a:gd name="connsiteX62" fmla="*/ 456121 w 4781135"/>
              <a:gd name="connsiteY62" fmla="*/ 4950628 h 5143500"/>
              <a:gd name="connsiteX63" fmla="*/ 463668 w 4781135"/>
              <a:gd name="connsiteY63" fmla="*/ 4944812 h 5143500"/>
              <a:gd name="connsiteX64" fmla="*/ 465994 w 4781135"/>
              <a:gd name="connsiteY64" fmla="*/ 4928255 h 5143500"/>
              <a:gd name="connsiteX65" fmla="*/ 372445 w 4781135"/>
              <a:gd name="connsiteY65" fmla="*/ 4850972 h 5143500"/>
              <a:gd name="connsiteX66" fmla="*/ 396847 w 4781135"/>
              <a:gd name="connsiteY66" fmla="*/ 4836444 h 5143500"/>
              <a:gd name="connsiteX67" fmla="*/ 440718 w 4781135"/>
              <a:gd name="connsiteY67" fmla="*/ 4849520 h 5143500"/>
              <a:gd name="connsiteX68" fmla="*/ 445074 w 4781135"/>
              <a:gd name="connsiteY68" fmla="*/ 4850684 h 5143500"/>
              <a:gd name="connsiteX69" fmla="*/ 451467 w 4781135"/>
              <a:gd name="connsiteY69" fmla="*/ 4846616 h 5143500"/>
              <a:gd name="connsiteX70" fmla="*/ 460476 w 4781135"/>
              <a:gd name="connsiteY70" fmla="*/ 4827435 h 5143500"/>
              <a:gd name="connsiteX71" fmla="*/ 461639 w 4781135"/>
              <a:gd name="connsiteY71" fmla="*/ 4822502 h 5143500"/>
              <a:gd name="connsiteX72" fmla="*/ 458150 w 4781135"/>
              <a:gd name="connsiteY72" fmla="*/ 4816686 h 5143500"/>
              <a:gd name="connsiteX73" fmla="*/ 398011 w 4781135"/>
              <a:gd name="connsiteY73" fmla="*/ 4801292 h 5143500"/>
              <a:gd name="connsiteX74" fmla="*/ 1053743 w 4781135"/>
              <a:gd name="connsiteY74" fmla="*/ 4747249 h 5143500"/>
              <a:gd name="connsiteX75" fmla="*/ 994181 w 4781135"/>
              <a:gd name="connsiteY75" fmla="*/ 4808264 h 5143500"/>
              <a:gd name="connsiteX76" fmla="*/ 994181 w 4781135"/>
              <a:gd name="connsiteY76" fmla="*/ 4944812 h 5143500"/>
              <a:gd name="connsiteX77" fmla="*/ 999997 w 4781135"/>
              <a:gd name="connsiteY77" fmla="*/ 4950628 h 5143500"/>
              <a:gd name="connsiteX78" fmla="*/ 1025851 w 4781135"/>
              <a:gd name="connsiteY78" fmla="*/ 4950628 h 5143500"/>
              <a:gd name="connsiteX79" fmla="*/ 1031659 w 4781135"/>
              <a:gd name="connsiteY79" fmla="*/ 4944812 h 5143500"/>
              <a:gd name="connsiteX80" fmla="*/ 1031659 w 4781135"/>
              <a:gd name="connsiteY80" fmla="*/ 4837319 h 5143500"/>
              <a:gd name="connsiteX81" fmla="*/ 1068558 w 4781135"/>
              <a:gd name="connsiteY81" fmla="*/ 4837319 h 5143500"/>
              <a:gd name="connsiteX82" fmla="*/ 1074366 w 4781135"/>
              <a:gd name="connsiteY82" fmla="*/ 4831502 h 5143500"/>
              <a:gd name="connsiteX83" fmla="*/ 1074366 w 4781135"/>
              <a:gd name="connsiteY83" fmla="*/ 4811456 h 5143500"/>
              <a:gd name="connsiteX84" fmla="*/ 1068558 w 4781135"/>
              <a:gd name="connsiteY84" fmla="*/ 4805359 h 5143500"/>
              <a:gd name="connsiteX85" fmla="*/ 1031659 w 4781135"/>
              <a:gd name="connsiteY85" fmla="*/ 4805359 h 5143500"/>
              <a:gd name="connsiteX86" fmla="*/ 1031659 w 4781135"/>
              <a:gd name="connsiteY86" fmla="*/ 4802158 h 5143500"/>
              <a:gd name="connsiteX87" fmla="*/ 1054617 w 4781135"/>
              <a:gd name="connsiteY87" fmla="*/ 4778045 h 5143500"/>
              <a:gd name="connsiteX88" fmla="*/ 1068848 w 4781135"/>
              <a:gd name="connsiteY88" fmla="*/ 4779497 h 5143500"/>
              <a:gd name="connsiteX89" fmla="*/ 1074366 w 4781135"/>
              <a:gd name="connsiteY89" fmla="*/ 4773977 h 5143500"/>
              <a:gd name="connsiteX90" fmla="*/ 1077278 w 4781135"/>
              <a:gd name="connsiteY90" fmla="*/ 4758872 h 5143500"/>
              <a:gd name="connsiteX91" fmla="*/ 1077856 w 4781135"/>
              <a:gd name="connsiteY91" fmla="*/ 4755094 h 5143500"/>
              <a:gd name="connsiteX92" fmla="*/ 1072048 w 4781135"/>
              <a:gd name="connsiteY92" fmla="*/ 4749285 h 5143500"/>
              <a:gd name="connsiteX93" fmla="*/ 1053743 w 4781135"/>
              <a:gd name="connsiteY93" fmla="*/ 4747249 h 5143500"/>
              <a:gd name="connsiteX94" fmla="*/ 1115151 w 4781135"/>
              <a:gd name="connsiteY94" fmla="*/ 4747131 h 5143500"/>
              <a:gd name="connsiteX95" fmla="*/ 1095104 w 4781135"/>
              <a:gd name="connsiteY95" fmla="*/ 4767478 h 5143500"/>
              <a:gd name="connsiteX96" fmla="*/ 1116017 w 4781135"/>
              <a:gd name="connsiteY96" fmla="*/ 4787818 h 5143500"/>
              <a:gd name="connsiteX97" fmla="*/ 1136065 w 4781135"/>
              <a:gd name="connsiteY97" fmla="*/ 4767481 h 5143500"/>
              <a:gd name="connsiteX98" fmla="*/ 1115151 w 4781135"/>
              <a:gd name="connsiteY98" fmla="*/ 4747131 h 5143500"/>
              <a:gd name="connsiteX99" fmla="*/ 0 w 4781135"/>
              <a:gd name="connsiteY99" fmla="*/ 0 h 5143500"/>
              <a:gd name="connsiteX100" fmla="*/ 3673235 w 4781135"/>
              <a:gd name="connsiteY100" fmla="*/ 0 h 5143500"/>
              <a:gd name="connsiteX101" fmla="*/ 3843349 w 4781135"/>
              <a:gd name="connsiteY101" fmla="*/ 145970 h 5143500"/>
              <a:gd name="connsiteX102" fmla="*/ 4781135 w 4781135"/>
              <a:gd name="connsiteY102" fmla="*/ 2622891 h 5143500"/>
              <a:gd name="connsiteX103" fmla="*/ 3861453 w 4781135"/>
              <a:gd name="connsiteY103" fmla="*/ 5081299 h 5143500"/>
              <a:gd name="connsiteX104" fmla="*/ 3792118 w 4781135"/>
              <a:gd name="connsiteY104" fmla="*/ 5143500 h 5143500"/>
              <a:gd name="connsiteX105" fmla="*/ 0 w 4781135"/>
              <a:gd name="connsiteY10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4781135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5" y="4921039"/>
                  <a:pt x="364153" y="4913482"/>
                  <a:pt x="351363" y="4913481"/>
                </a:cubicBezTo>
                <a:close/>
                <a:moveTo>
                  <a:pt x="891920" y="4837319"/>
                </a:moveTo>
                <a:cubicBezTo>
                  <a:pt x="913418" y="4837319"/>
                  <a:pt x="927648" y="4851260"/>
                  <a:pt x="927648" y="4877990"/>
                </a:cubicBezTo>
                <a:cubicBezTo>
                  <a:pt x="927648" y="4904719"/>
                  <a:pt x="913418" y="4918669"/>
                  <a:pt x="893949" y="4918669"/>
                </a:cubicBezTo>
                <a:cubicBezTo>
                  <a:pt x="872451" y="4918669"/>
                  <a:pt x="858212" y="4904719"/>
                  <a:pt x="858212" y="4877990"/>
                </a:cubicBezTo>
                <a:cubicBezTo>
                  <a:pt x="858212" y="4851260"/>
                  <a:pt x="872451" y="4837319"/>
                  <a:pt x="891920" y="4837319"/>
                </a:cubicBezTo>
                <a:close/>
                <a:moveTo>
                  <a:pt x="559545" y="4837319"/>
                </a:moveTo>
                <a:cubicBezTo>
                  <a:pt x="567390" y="4837319"/>
                  <a:pt x="572909" y="4838184"/>
                  <a:pt x="579303" y="4839934"/>
                </a:cubicBezTo>
                <a:cubicBezTo>
                  <a:pt x="584244" y="4841386"/>
                  <a:pt x="586562" y="4843414"/>
                  <a:pt x="586562" y="4847771"/>
                </a:cubicBezTo>
                <a:lnTo>
                  <a:pt x="586562" y="4908209"/>
                </a:lnTo>
                <a:cubicBezTo>
                  <a:pt x="586562" y="4912564"/>
                  <a:pt x="584244" y="4914601"/>
                  <a:pt x="579303" y="4916053"/>
                </a:cubicBezTo>
                <a:cubicBezTo>
                  <a:pt x="572909" y="4917794"/>
                  <a:pt x="567390" y="4918669"/>
                  <a:pt x="559545" y="4918669"/>
                </a:cubicBezTo>
                <a:cubicBezTo>
                  <a:pt x="540950" y="4918669"/>
                  <a:pt x="523519" y="4907623"/>
                  <a:pt x="523519" y="4877990"/>
                </a:cubicBezTo>
                <a:cubicBezTo>
                  <a:pt x="523519" y="4848356"/>
                  <a:pt x="540950" y="4837319"/>
                  <a:pt x="559545" y="4837319"/>
                </a:cubicBezTo>
                <a:close/>
                <a:moveTo>
                  <a:pt x="1101680" y="4805359"/>
                </a:moveTo>
                <a:cubicBezTo>
                  <a:pt x="1098191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1" y="4950628"/>
                  <a:pt x="1101680" y="4950628"/>
                </a:cubicBezTo>
                <a:lnTo>
                  <a:pt x="1127823" y="4950628"/>
                </a:lnTo>
                <a:cubicBezTo>
                  <a:pt x="1131313" y="4950628"/>
                  <a:pt x="1133640" y="4948301"/>
                  <a:pt x="1133640" y="4944812"/>
                </a:cubicBezTo>
                <a:lnTo>
                  <a:pt x="1133640" y="4811167"/>
                </a:lnTo>
                <a:cubicBezTo>
                  <a:pt x="1133640" y="4807677"/>
                  <a:pt x="1131313" y="4805359"/>
                  <a:pt x="1127823" y="4805359"/>
                </a:cubicBez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37531" y="4953533"/>
                  <a:pt x="966000" y="4921862"/>
                  <a:pt x="966000" y="4877990"/>
                </a:cubicBezTo>
                <a:cubicBezTo>
                  <a:pt x="966000" y="4834118"/>
                  <a:pt x="937531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cubicBezTo>
                  <a:pt x="662977" y="4814359"/>
                  <a:pt x="659777" y="4817849"/>
                  <a:pt x="659777" y="4824531"/>
                </a:cubicBez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cubicBezTo>
                  <a:pt x="697552" y="4842838"/>
                  <a:pt x="699870" y="4840800"/>
                  <a:pt x="704522" y="4839636"/>
                </a:cubicBezTo>
                <a:cubicBezTo>
                  <a:pt x="712079" y="4837896"/>
                  <a:pt x="717012" y="4837319"/>
                  <a:pt x="726020" y="4837319"/>
                </a:cubicBezTo>
                <a:cubicBezTo>
                  <a:pt x="741711" y="4837319"/>
                  <a:pt x="754202" y="4844578"/>
                  <a:pt x="754202" y="4862009"/>
                </a:cubicBez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857068"/>
                </a:lnTo>
                <a:cubicBezTo>
                  <a:pt x="791976" y="4821627"/>
                  <a:pt x="770181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15971" y="4802455"/>
                  <a:pt x="485166" y="4831799"/>
                  <a:pt x="485166" y="4877990"/>
                </a:cubicBezTo>
                <a:cubicBezTo>
                  <a:pt x="485166" y="4924766"/>
                  <a:pt x="511896" y="4953533"/>
                  <a:pt x="559256" y="4953533"/>
                </a:cubicBezTo>
                <a:cubicBezTo>
                  <a:pt x="578427" y="4953533"/>
                  <a:pt x="597022" y="4950331"/>
                  <a:pt x="617068" y="4941908"/>
                </a:cubicBezTo>
                <a:cubicBezTo>
                  <a:pt x="621722" y="4939879"/>
                  <a:pt x="624336" y="4936678"/>
                  <a:pt x="624336" y="4930284"/>
                </a:cubicBezTo>
                <a:lnTo>
                  <a:pt x="624336" y="4824821"/>
                </a:lnTo>
                <a:cubicBezTo>
                  <a:pt x="624336" y="4818138"/>
                  <a:pt x="621722" y="4814946"/>
                  <a:pt x="617068" y="4813204"/>
                </a:cubicBezTo>
                <a:cubicBezTo>
                  <a:pt x="597897" y="4805936"/>
                  <a:pt x="579879" y="4802455"/>
                  <a:pt x="559834" y="4802455"/>
                </a:cubicBezTo>
                <a:close/>
                <a:moveTo>
                  <a:pt x="398011" y="4801292"/>
                </a:moveTo>
                <a:cubicBezTo>
                  <a:pt x="359080" y="4801292"/>
                  <a:pt x="334092" y="4822205"/>
                  <a:pt x="334092" y="4853587"/>
                </a:cubicBezTo>
                <a:cubicBezTo>
                  <a:pt x="334092" y="4915179"/>
                  <a:pt x="427643" y="4891337"/>
                  <a:pt x="427643" y="4934063"/>
                </a:cubicBezTo>
                <a:cubicBezTo>
                  <a:pt x="427643" y="4938419"/>
                  <a:pt x="427065" y="4941033"/>
                  <a:pt x="425903" y="4944812"/>
                </a:cubicBezTo>
                <a:cubicBezTo>
                  <a:pt x="425613" y="4945398"/>
                  <a:pt x="425613" y="4945975"/>
                  <a:pt x="425613" y="4946561"/>
                </a:cubicBezTo>
                <a:cubicBezTo>
                  <a:pt x="425613" y="4948879"/>
                  <a:pt x="427065" y="4950628"/>
                  <a:pt x="429969" y="4950628"/>
                </a:cubicBez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4" y="4933196"/>
                  <a:pt x="465994" y="4928255"/>
                </a:cubicBezTo>
                <a:cubicBezTo>
                  <a:pt x="465994" y="4862299"/>
                  <a:pt x="372445" y="4878177"/>
                  <a:pt x="372445" y="4850972"/>
                </a:cubicBezTo>
                <a:cubicBezTo>
                  <a:pt x="372445" y="4842074"/>
                  <a:pt x="381454" y="4836444"/>
                  <a:pt x="396847" y="4836444"/>
                </a:cubicBezTo>
                <a:cubicBezTo>
                  <a:pt x="411664" y="4836444"/>
                  <a:pt x="425903" y="4841386"/>
                  <a:pt x="440718" y="4849520"/>
                </a:cubicBezTo>
                <a:cubicBezTo>
                  <a:pt x="442170" y="4850386"/>
                  <a:pt x="443622" y="4850684"/>
                  <a:pt x="445074" y="4850684"/>
                </a:cubicBez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6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cubicBezTo>
                  <a:pt x="1029340" y="4950628"/>
                  <a:pt x="1031659" y="4948301"/>
                  <a:pt x="1031659" y="4944812"/>
                </a:cubicBezTo>
                <a:lnTo>
                  <a:pt x="1031659" y="4837319"/>
                </a:lnTo>
                <a:lnTo>
                  <a:pt x="1068558" y="4837319"/>
                </a:lnTo>
                <a:cubicBezTo>
                  <a:pt x="1072338" y="4837319"/>
                  <a:pt x="1074366" y="4834992"/>
                  <a:pt x="1074366" y="4831502"/>
                </a:cubicBezTo>
                <a:lnTo>
                  <a:pt x="1074366" y="4811456"/>
                </a:lnTo>
                <a:cubicBezTo>
                  <a:pt x="1074366" y="4807677"/>
                  <a:pt x="1072338" y="4805359"/>
                  <a:pt x="1068558" y="4805359"/>
                </a:cubicBezTo>
                <a:lnTo>
                  <a:pt x="1031659" y="4805359"/>
                </a:lnTo>
                <a:lnTo>
                  <a:pt x="1031659" y="4802158"/>
                </a:lnTo>
                <a:cubicBezTo>
                  <a:pt x="1031659" y="4786179"/>
                  <a:pt x="1038637" y="4778045"/>
                  <a:pt x="1054617" y="4778045"/>
                </a:cubicBezTo>
                <a:cubicBezTo>
                  <a:pt x="1060425" y="4778045"/>
                  <a:pt x="1066682" y="4779497"/>
                  <a:pt x="1068848" y="4779497"/>
                </a:cubicBezTo>
                <a:cubicBezTo>
                  <a:pt x="1072338" y="4779497"/>
                  <a:pt x="1073790" y="4777467"/>
                  <a:pt x="1074366" y="4773977"/>
                </a:cubicBezTo>
                <a:lnTo>
                  <a:pt x="1077278" y="4758872"/>
                </a:lnTo>
                <a:cubicBezTo>
                  <a:pt x="1077533" y="4757531"/>
                  <a:pt x="1077856" y="4756351"/>
                  <a:pt x="1077856" y="4755094"/>
                </a:cubicBezTo>
                <a:cubicBezTo>
                  <a:pt x="1077856" y="4751868"/>
                  <a:pt x="1076116" y="4750152"/>
                  <a:pt x="1072048" y="4749285"/>
                </a:cubicBez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2" y="4787817"/>
                  <a:pt x="1136070" y="4779974"/>
                  <a:pt x="1136065" y="4767481"/>
                </a:cubicBezTo>
                <a:cubicBezTo>
                  <a:pt x="1136070" y="4754690"/>
                  <a:pt x="1127932" y="4747137"/>
                  <a:pt x="1115151" y="4747131"/>
                </a:cubicBezTo>
                <a:close/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FB220A98-FE22-4FE9-AB26-E269403DC28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07188" y="2352805"/>
            <a:ext cx="6577097" cy="1233460"/>
          </a:xfrm>
        </p:spPr>
        <p:txBody>
          <a:bodyPr anchor="b">
            <a:noAutofit/>
          </a:bodyPr>
          <a:lstStyle>
            <a:lvl1pPr algn="l">
              <a:lnSpc>
                <a:spcPct val="96000"/>
              </a:lnSpc>
              <a:spcAft>
                <a:spcPts val="1750"/>
              </a:spcAft>
              <a:defRPr lang="fr-FR" sz="385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algn="l">
              <a:lnSpc>
                <a:spcPct val="90000"/>
              </a:lnSpc>
              <a:defRPr sz="6300" b="0" i="1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750"/>
              </a:spcBef>
              <a:defRPr sz="245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lvl="0"/>
            <a:r>
              <a:rPr lang="fr-FR" noProof="0"/>
              <a:t>Modifiez le style du titr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F6585BF-F3F3-4500-9CFA-EF0D9041ED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07188" y="5768592"/>
            <a:ext cx="6577097" cy="932409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750"/>
              </a:spcAft>
              <a:defRPr lang="fr-FR" sz="245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77"/>
              </a:defRPr>
            </a:lvl1pPr>
            <a:lvl2pPr algn="l">
              <a:lnSpc>
                <a:spcPct val="90000"/>
              </a:lnSpc>
              <a:defRPr lang="en-US" sz="245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750"/>
              </a:spcBef>
              <a:defRPr lang="en-US" sz="245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marL="0" lvl="0" indent="0" algn="l" defTabSz="1199993" rtl="0" eaLnBrk="1" latinLnBrk="0" hangingPunct="1">
              <a:lnSpc>
                <a:spcPct val="100000"/>
              </a:lnSpc>
              <a:spcBef>
                <a:spcPts val="1750"/>
              </a:spcBef>
              <a:buFont typeface="Arial" panose="020B0604020202020204" pitchFamily="34" charset="0"/>
              <a:buNone/>
            </a:pPr>
            <a:r>
              <a:rPr lang="fr-FR" noProof="0"/>
              <a:t>Cliquez pour modifier les styles du texte du masque</a:t>
            </a:r>
          </a:p>
        </p:txBody>
      </p:sp>
      <p:grpSp>
        <p:nvGrpSpPr>
          <p:cNvPr id="20" name="Graphique 7">
            <a:extLst>
              <a:ext uri="{FF2B5EF4-FFF2-40B4-BE49-F238E27FC236}">
                <a16:creationId xmlns:a16="http://schemas.microsoft.com/office/drawing/2014/main" id="{41A6B5B5-03B8-49D6-8E7D-7234849CFE6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7541" y="8306040"/>
            <a:ext cx="1424253" cy="3609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1" name="Forme libre : forme 9">
              <a:extLst>
                <a:ext uri="{FF2B5EF4-FFF2-40B4-BE49-F238E27FC236}">
                  <a16:creationId xmlns:a16="http://schemas.microsoft.com/office/drawing/2014/main" id="{894C3BCE-0F75-41F2-8D95-D17AC0094E07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  <p:sp>
          <p:nvSpPr>
            <p:cNvPr id="22" name="Forme libre : forme 10">
              <a:extLst>
                <a:ext uri="{FF2B5EF4-FFF2-40B4-BE49-F238E27FC236}">
                  <a16:creationId xmlns:a16="http://schemas.microsoft.com/office/drawing/2014/main" id="{3504E00F-BFEB-45F7-8ABF-8EDFD10A356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solidFill>
                  <a:schemeClr val="accent2"/>
                </a:solidFill>
                <a:latin typeface="Sanofi Sans" panose="02010503030201020103" pitchFamily="2" charset="0"/>
              </a:endParaRPr>
            </a:p>
          </p:txBody>
        </p:sp>
        <p:sp>
          <p:nvSpPr>
            <p:cNvPr id="23" name="Forme libre : forme 11">
              <a:extLst>
                <a:ext uri="{FF2B5EF4-FFF2-40B4-BE49-F238E27FC236}">
                  <a16:creationId xmlns:a16="http://schemas.microsoft.com/office/drawing/2014/main" id="{62970186-18A1-474A-9D38-2066088D8A0F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AFEF24-0BEA-D02D-E4D2-4D8AFC110057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0869505" y="8446347"/>
            <a:ext cx="2882414" cy="29154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7816FDE0-B921-4A0E-88B8-448686EC2E12}" type="datetime1">
              <a:rPr lang="en-US" smtClean="0"/>
              <a:pPr/>
              <a:t>5/22/2026</a:t>
            </a:fld>
            <a:endParaRPr lang="en-US"/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2389754A-175B-F9CE-4CF6-4CF342BEE761}"/>
              </a:ext>
            </a:extLst>
          </p:cNvPr>
          <p:cNvCxnSpPr>
            <a:cxnSpLocks/>
          </p:cNvCxnSpPr>
          <p:nvPr userDrawn="1"/>
        </p:nvCxnSpPr>
        <p:spPr>
          <a:xfrm>
            <a:off x="-985524" y="279986"/>
            <a:ext cx="8840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18D23CA-59B5-E03B-B414-042BC5991873}"/>
              </a:ext>
            </a:extLst>
          </p:cNvPr>
          <p:cNvSpPr txBox="1"/>
          <p:nvPr userDrawn="1"/>
        </p:nvSpPr>
        <p:spPr>
          <a:xfrm>
            <a:off x="-4317094" y="79850"/>
            <a:ext cx="3164598" cy="7794441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add an imag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the icon inside the image placehold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Select the image you want to use from your comput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“Open”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Adjust or crop the image if necessary by using the button “Crop” in the top ribbon.</a:t>
            </a:r>
          </a:p>
          <a:p>
            <a:pPr marL="299998" indent="-299998">
              <a:buFontTx/>
              <a:buChar char="-"/>
            </a:pPr>
            <a:endParaRPr lang="en-US" sz="1925">
              <a:latin typeface="Sanofi Sans" panose="02010503030201020103" pitchFamily="2" charset="77"/>
            </a:endParaRPr>
          </a:p>
          <a:p>
            <a:pPr marL="0" indent="0">
              <a:buFontTx/>
              <a:buNone/>
            </a:pPr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r>
              <a:rPr lang="en-US" sz="1925" b="1">
                <a:latin typeface="Sanofi Sans" panose="02010503030201020103" pitchFamily="2" charset="77"/>
              </a:rPr>
              <a:t>Add Alt Text or mark as decorativ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Right click on the image and select “View Alt Text”.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ype in the blank field that appears on the right of the slide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If Alt Text isn’t relevant, tick the box to “Mark element as decorative”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25E406-961F-80EA-68CE-96479EFA28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843247" y="4387518"/>
            <a:ext cx="544066" cy="1088389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167F0E43-21CE-2E8B-DF33-DCC5F5BABB0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4769304" y="9422302"/>
            <a:ext cx="843774" cy="359987"/>
          </a:xfrm>
        </p:spPr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6BBA029-671C-F704-433F-BACD5A73C1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2961929" y="9496525"/>
            <a:ext cx="7938215" cy="291551"/>
          </a:xfrm>
        </p:spPr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E3AC4B7F-B802-09FD-241C-0BBA8F08C4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07185" y="3919247"/>
            <a:ext cx="6577097" cy="1555475"/>
          </a:xfrm>
        </p:spPr>
        <p:txBody>
          <a:bodyPr/>
          <a:lstStyle>
            <a:lvl1pPr>
              <a:lnSpc>
                <a:spcPct val="90000"/>
              </a:lnSpc>
              <a:defRPr sz="5600" b="0" i="1">
                <a:solidFill>
                  <a:schemeClr val="bg1"/>
                </a:solidFill>
                <a:latin typeface="Sanofi Serif" panose="02060503060201090102" pitchFamily="18" charset="77"/>
              </a:defRPr>
            </a:lvl1pPr>
          </a:lstStyle>
          <a:p>
            <a:pPr lvl="0"/>
            <a:r>
              <a:rPr lang="fr-FR"/>
              <a:t>Principal </a:t>
            </a:r>
            <a:br>
              <a:rPr lang="fr-FR"/>
            </a:br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818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next t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5C5F3432-6FAD-4E94-8F10-E3A9F6458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8100219" cy="8999538"/>
          </a:xfrm>
          <a:custGeom>
            <a:avLst/>
            <a:gdLst>
              <a:gd name="connsiteX0" fmla="*/ 351364 w 4572000"/>
              <a:gd name="connsiteY0" fmla="*/ 4913481 h 5143500"/>
              <a:gd name="connsiteX1" fmla="*/ 331614 w 4572000"/>
              <a:gd name="connsiteY1" fmla="*/ 4933530 h 5143500"/>
              <a:gd name="connsiteX2" fmla="*/ 352238 w 4572000"/>
              <a:gd name="connsiteY2" fmla="*/ 4953582 h 5143500"/>
              <a:gd name="connsiteX3" fmla="*/ 371988 w 4572000"/>
              <a:gd name="connsiteY3" fmla="*/ 4933533 h 5143500"/>
              <a:gd name="connsiteX4" fmla="*/ 351364 w 4572000"/>
              <a:gd name="connsiteY4" fmla="*/ 4913481 h 5143500"/>
              <a:gd name="connsiteX5" fmla="*/ 892594 w 4572000"/>
              <a:gd name="connsiteY5" fmla="*/ 4837587 h 5143500"/>
              <a:gd name="connsiteX6" fmla="*/ 917847 w 4572000"/>
              <a:gd name="connsiteY6" fmla="*/ 4847631 h 5143500"/>
              <a:gd name="connsiteX7" fmla="*/ 927649 w 4572000"/>
              <a:gd name="connsiteY7" fmla="*/ 4877990 h 5143500"/>
              <a:gd name="connsiteX8" fmla="*/ 918101 w 4572000"/>
              <a:gd name="connsiteY8" fmla="*/ 4908353 h 5143500"/>
              <a:gd name="connsiteX9" fmla="*/ 894867 w 4572000"/>
              <a:gd name="connsiteY9" fmla="*/ 4918277 h 5143500"/>
              <a:gd name="connsiteX10" fmla="*/ 868934 w 4572000"/>
              <a:gd name="connsiteY10" fmla="*/ 4908080 h 5143500"/>
              <a:gd name="connsiteX11" fmla="*/ 859063 w 4572000"/>
              <a:gd name="connsiteY11" fmla="*/ 4877877 h 5143500"/>
              <a:gd name="connsiteX12" fmla="*/ 868679 w 4572000"/>
              <a:gd name="connsiteY12" fmla="*/ 4847677 h 5143500"/>
              <a:gd name="connsiteX13" fmla="*/ 559058 w 4572000"/>
              <a:gd name="connsiteY13" fmla="*/ 4837499 h 5143500"/>
              <a:gd name="connsiteX14" fmla="*/ 578337 w 4572000"/>
              <a:gd name="connsiteY14" fmla="*/ 4840021 h 5143500"/>
              <a:gd name="connsiteX15" fmla="*/ 585644 w 4572000"/>
              <a:gd name="connsiteY15" fmla="*/ 4847817 h 5143500"/>
              <a:gd name="connsiteX16" fmla="*/ 585644 w 4572000"/>
              <a:gd name="connsiteY16" fmla="*/ 4907937 h 5143500"/>
              <a:gd name="connsiteX17" fmla="*/ 578337 w 4572000"/>
              <a:gd name="connsiteY17" fmla="*/ 4915741 h 5143500"/>
              <a:gd name="connsiteX18" fmla="*/ 558606 w 4572000"/>
              <a:gd name="connsiteY18" fmla="*/ 4918322 h 5143500"/>
              <a:gd name="connsiteX19" fmla="*/ 534560 w 4572000"/>
              <a:gd name="connsiteY19" fmla="*/ 4909442 h 5143500"/>
              <a:gd name="connsiteX20" fmla="*/ 523520 w 4572000"/>
              <a:gd name="connsiteY20" fmla="*/ 4877990 h 5143500"/>
              <a:gd name="connsiteX21" fmla="*/ 534560 w 4572000"/>
              <a:gd name="connsiteY21" fmla="*/ 4846542 h 5143500"/>
              <a:gd name="connsiteX22" fmla="*/ 1101681 w 4572000"/>
              <a:gd name="connsiteY22" fmla="*/ 4805359 h 5143500"/>
              <a:gd name="connsiteX23" fmla="*/ 1095865 w 4572000"/>
              <a:gd name="connsiteY23" fmla="*/ 4811167 h 5143500"/>
              <a:gd name="connsiteX24" fmla="*/ 1095865 w 4572000"/>
              <a:gd name="connsiteY24" fmla="*/ 4944812 h 5143500"/>
              <a:gd name="connsiteX25" fmla="*/ 1101681 w 4572000"/>
              <a:gd name="connsiteY25" fmla="*/ 4950628 h 5143500"/>
              <a:gd name="connsiteX26" fmla="*/ 1127824 w 4572000"/>
              <a:gd name="connsiteY26" fmla="*/ 4950628 h 5143500"/>
              <a:gd name="connsiteX27" fmla="*/ 1128318 w 4572000"/>
              <a:gd name="connsiteY27" fmla="*/ 4950134 h 5143500"/>
              <a:gd name="connsiteX28" fmla="*/ 1130432 w 4572000"/>
              <a:gd name="connsiteY28" fmla="*/ 4950134 h 5143500"/>
              <a:gd name="connsiteX29" fmla="*/ 1136286 w 4572000"/>
              <a:gd name="connsiteY29" fmla="*/ 4944348 h 5143500"/>
              <a:gd name="connsiteX30" fmla="*/ 1136286 w 4572000"/>
              <a:gd name="connsiteY30" fmla="*/ 4811405 h 5143500"/>
              <a:gd name="connsiteX31" fmla="*/ 1130432 w 4572000"/>
              <a:gd name="connsiteY31" fmla="*/ 4805627 h 5143500"/>
              <a:gd name="connsiteX32" fmla="*/ 1128093 w 4572000"/>
              <a:gd name="connsiteY32" fmla="*/ 4805627 h 5143500"/>
              <a:gd name="connsiteX33" fmla="*/ 1127824 w 4572000"/>
              <a:gd name="connsiteY33" fmla="*/ 4805359 h 5143500"/>
              <a:gd name="connsiteX34" fmla="*/ 891921 w 4572000"/>
              <a:gd name="connsiteY34" fmla="*/ 4802455 h 5143500"/>
              <a:gd name="connsiteX35" fmla="*/ 819860 w 4572000"/>
              <a:gd name="connsiteY35" fmla="*/ 4877990 h 5143500"/>
              <a:gd name="connsiteX36" fmla="*/ 893950 w 4572000"/>
              <a:gd name="connsiteY36" fmla="*/ 4953533 h 5143500"/>
              <a:gd name="connsiteX37" fmla="*/ 923594 w 4572000"/>
              <a:gd name="connsiteY37" fmla="*/ 4947899 h 5143500"/>
              <a:gd name="connsiteX38" fmla="*/ 924072 w 4572000"/>
              <a:gd name="connsiteY38" fmla="*/ 4947569 h 5143500"/>
              <a:gd name="connsiteX39" fmla="*/ 924870 w 4572000"/>
              <a:gd name="connsiteY39" fmla="*/ 4947419 h 5143500"/>
              <a:gd name="connsiteX40" fmla="*/ 967554 w 4572000"/>
              <a:gd name="connsiteY40" fmla="*/ 4877877 h 5143500"/>
              <a:gd name="connsiteX41" fmla="*/ 924009 w 4572000"/>
              <a:gd name="connsiteY41" fmla="*/ 4808342 h 5143500"/>
              <a:gd name="connsiteX42" fmla="*/ 922788 w 4572000"/>
              <a:gd name="connsiteY42" fmla="*/ 4808122 h 5143500"/>
              <a:gd name="connsiteX43" fmla="*/ 922738 w 4572000"/>
              <a:gd name="connsiteY43" fmla="*/ 4808088 h 5143500"/>
              <a:gd name="connsiteX44" fmla="*/ 891921 w 4572000"/>
              <a:gd name="connsiteY44" fmla="*/ 4802455 h 5143500"/>
              <a:gd name="connsiteX45" fmla="*/ 725444 w 4572000"/>
              <a:gd name="connsiteY45" fmla="*/ 4802455 h 5143500"/>
              <a:gd name="connsiteX46" fmla="*/ 667046 w 4572000"/>
              <a:gd name="connsiteY46" fmla="*/ 4812907 h 5143500"/>
              <a:gd name="connsiteX47" fmla="*/ 666934 w 4572000"/>
              <a:gd name="connsiteY47" fmla="*/ 4813086 h 5143500"/>
              <a:gd name="connsiteX48" fmla="*/ 666651 w 4572000"/>
              <a:gd name="connsiteY48" fmla="*/ 4813136 h 5143500"/>
              <a:gd name="connsiteX49" fmla="*/ 659335 w 4572000"/>
              <a:gd name="connsiteY49" fmla="*/ 4824699 h 5143500"/>
              <a:gd name="connsiteX50" fmla="*/ 659335 w 4572000"/>
              <a:gd name="connsiteY50" fmla="*/ 4944348 h 5143500"/>
              <a:gd name="connsiteX51" fmla="*/ 659778 w 4572000"/>
              <a:gd name="connsiteY51" fmla="*/ 4944785 h 5143500"/>
              <a:gd name="connsiteX52" fmla="*/ 659778 w 4572000"/>
              <a:gd name="connsiteY52" fmla="*/ 4944812 h 5143500"/>
              <a:gd name="connsiteX53" fmla="*/ 665594 w 4572000"/>
              <a:gd name="connsiteY53" fmla="*/ 4950628 h 5143500"/>
              <a:gd name="connsiteX54" fmla="*/ 691737 w 4572000"/>
              <a:gd name="connsiteY54" fmla="*/ 4950628 h 5143500"/>
              <a:gd name="connsiteX55" fmla="*/ 697553 w 4572000"/>
              <a:gd name="connsiteY55" fmla="*/ 4944812 h 5143500"/>
              <a:gd name="connsiteX56" fmla="*/ 697553 w 4572000"/>
              <a:gd name="connsiteY56" fmla="*/ 4847194 h 5143500"/>
              <a:gd name="connsiteX57" fmla="*/ 704449 w 4572000"/>
              <a:gd name="connsiteY57" fmla="*/ 4839717 h 5143500"/>
              <a:gd name="connsiteX58" fmla="*/ 726010 w 4572000"/>
              <a:gd name="connsiteY58" fmla="*/ 4837419 h 5143500"/>
              <a:gd name="connsiteX59" fmla="*/ 746014 w 4572000"/>
              <a:gd name="connsiteY59" fmla="*/ 4843168 h 5143500"/>
              <a:gd name="connsiteX60" fmla="*/ 754203 w 4572000"/>
              <a:gd name="connsiteY60" fmla="*/ 4862009 h 5143500"/>
              <a:gd name="connsiteX61" fmla="*/ 754203 w 4572000"/>
              <a:gd name="connsiteY61" fmla="*/ 4944812 h 5143500"/>
              <a:gd name="connsiteX62" fmla="*/ 760019 w 4572000"/>
              <a:gd name="connsiteY62" fmla="*/ 4950628 h 5143500"/>
              <a:gd name="connsiteX63" fmla="*/ 786161 w 4572000"/>
              <a:gd name="connsiteY63" fmla="*/ 4950628 h 5143500"/>
              <a:gd name="connsiteX64" fmla="*/ 791977 w 4572000"/>
              <a:gd name="connsiteY64" fmla="*/ 4944812 h 5143500"/>
              <a:gd name="connsiteX65" fmla="*/ 791977 w 4572000"/>
              <a:gd name="connsiteY65" fmla="*/ 4944762 h 5143500"/>
              <a:gd name="connsiteX66" fmla="*/ 792396 w 4572000"/>
              <a:gd name="connsiteY66" fmla="*/ 4944348 h 5143500"/>
              <a:gd name="connsiteX67" fmla="*/ 792396 w 4572000"/>
              <a:gd name="connsiteY67" fmla="*/ 4857065 h 5143500"/>
              <a:gd name="connsiteX68" fmla="*/ 775798 w 4572000"/>
              <a:gd name="connsiteY68" fmla="*/ 4816682 h 5143500"/>
              <a:gd name="connsiteX69" fmla="*/ 775550 w 4572000"/>
              <a:gd name="connsiteY69" fmla="*/ 4816558 h 5143500"/>
              <a:gd name="connsiteX70" fmla="*/ 775487 w 4572000"/>
              <a:gd name="connsiteY70" fmla="*/ 4816471 h 5143500"/>
              <a:gd name="connsiteX71" fmla="*/ 725444 w 4572000"/>
              <a:gd name="connsiteY71" fmla="*/ 4802455 h 5143500"/>
              <a:gd name="connsiteX72" fmla="*/ 559835 w 4572000"/>
              <a:gd name="connsiteY72" fmla="*/ 4802455 h 5143500"/>
              <a:gd name="connsiteX73" fmla="*/ 529663 w 4572000"/>
              <a:gd name="connsiteY73" fmla="*/ 4807762 h 5143500"/>
              <a:gd name="connsiteX74" fmla="*/ 529596 w 4572000"/>
              <a:gd name="connsiteY74" fmla="*/ 4807805 h 5143500"/>
              <a:gd name="connsiteX75" fmla="*/ 528373 w 4572000"/>
              <a:gd name="connsiteY75" fmla="*/ 4808018 h 5143500"/>
              <a:gd name="connsiteX76" fmla="*/ 483587 w 4572000"/>
              <a:gd name="connsiteY76" fmla="*/ 4877877 h 5143500"/>
              <a:gd name="connsiteX77" fmla="*/ 526397 w 4572000"/>
              <a:gd name="connsiteY77" fmla="*/ 4947825 h 5143500"/>
              <a:gd name="connsiteX78" fmla="*/ 527143 w 4572000"/>
              <a:gd name="connsiteY78" fmla="*/ 4947947 h 5143500"/>
              <a:gd name="connsiteX79" fmla="*/ 527701 w 4572000"/>
              <a:gd name="connsiteY79" fmla="*/ 4948307 h 5143500"/>
              <a:gd name="connsiteX80" fmla="*/ 559257 w 4572000"/>
              <a:gd name="connsiteY80" fmla="*/ 4953533 h 5143500"/>
              <a:gd name="connsiteX81" fmla="*/ 617069 w 4572000"/>
              <a:gd name="connsiteY81" fmla="*/ 4941908 h 5143500"/>
              <a:gd name="connsiteX82" fmla="*/ 624338 w 4572000"/>
              <a:gd name="connsiteY82" fmla="*/ 4930284 h 5143500"/>
              <a:gd name="connsiteX83" fmla="*/ 624338 w 4572000"/>
              <a:gd name="connsiteY83" fmla="*/ 4824821 h 5143500"/>
              <a:gd name="connsiteX84" fmla="*/ 617069 w 4572000"/>
              <a:gd name="connsiteY84" fmla="*/ 4813204 h 5143500"/>
              <a:gd name="connsiteX85" fmla="*/ 559835 w 4572000"/>
              <a:gd name="connsiteY85" fmla="*/ 4802455 h 5143500"/>
              <a:gd name="connsiteX86" fmla="*/ 398012 w 4572000"/>
              <a:gd name="connsiteY86" fmla="*/ 4801292 h 5143500"/>
              <a:gd name="connsiteX87" fmla="*/ 396528 w 4572000"/>
              <a:gd name="connsiteY87" fmla="*/ 4801750 h 5143500"/>
              <a:gd name="connsiteX88" fmla="*/ 395863 w 4572000"/>
              <a:gd name="connsiteY88" fmla="*/ 4801582 h 5143500"/>
              <a:gd name="connsiteX89" fmla="*/ 331528 w 4572000"/>
              <a:gd name="connsiteY89" fmla="*/ 4853603 h 5143500"/>
              <a:gd name="connsiteX90" fmla="*/ 425688 w 4572000"/>
              <a:gd name="connsiteY90" fmla="*/ 4933656 h 5143500"/>
              <a:gd name="connsiteX91" fmla="*/ 423937 w 4572000"/>
              <a:gd name="connsiteY91" fmla="*/ 4944348 h 5143500"/>
              <a:gd name="connsiteX92" fmla="*/ 423646 w 4572000"/>
              <a:gd name="connsiteY92" fmla="*/ 4946089 h 5143500"/>
              <a:gd name="connsiteX93" fmla="*/ 428030 w 4572000"/>
              <a:gd name="connsiteY93" fmla="*/ 4950134 h 5143500"/>
              <a:gd name="connsiteX94" fmla="*/ 429441 w 4572000"/>
              <a:gd name="connsiteY94" fmla="*/ 4950134 h 5143500"/>
              <a:gd name="connsiteX95" fmla="*/ 429970 w 4572000"/>
              <a:gd name="connsiteY95" fmla="*/ 4950628 h 5143500"/>
              <a:gd name="connsiteX96" fmla="*/ 456122 w 4572000"/>
              <a:gd name="connsiteY96" fmla="*/ 4950628 h 5143500"/>
              <a:gd name="connsiteX97" fmla="*/ 463669 w 4572000"/>
              <a:gd name="connsiteY97" fmla="*/ 4944812 h 5143500"/>
              <a:gd name="connsiteX98" fmla="*/ 465995 w 4572000"/>
              <a:gd name="connsiteY98" fmla="*/ 4928255 h 5143500"/>
              <a:gd name="connsiteX99" fmla="*/ 372446 w 4572000"/>
              <a:gd name="connsiteY99" fmla="*/ 4850972 h 5143500"/>
              <a:gd name="connsiteX100" fmla="*/ 378875 w 4572000"/>
              <a:gd name="connsiteY100" fmla="*/ 4840371 h 5143500"/>
              <a:gd name="connsiteX101" fmla="*/ 395405 w 4572000"/>
              <a:gd name="connsiteY101" fmla="*/ 4836760 h 5143500"/>
              <a:gd name="connsiteX102" fmla="*/ 438849 w 4572000"/>
              <a:gd name="connsiteY102" fmla="*/ 4849557 h 5143500"/>
              <a:gd name="connsiteX103" fmla="*/ 443233 w 4572000"/>
              <a:gd name="connsiteY103" fmla="*/ 4850714 h 5143500"/>
              <a:gd name="connsiteX104" fmla="*/ 443816 w 4572000"/>
              <a:gd name="connsiteY104" fmla="*/ 4850348 h 5143500"/>
              <a:gd name="connsiteX105" fmla="*/ 445075 w 4572000"/>
              <a:gd name="connsiteY105" fmla="*/ 4850684 h 5143500"/>
              <a:gd name="connsiteX106" fmla="*/ 451468 w 4572000"/>
              <a:gd name="connsiteY106" fmla="*/ 4846616 h 5143500"/>
              <a:gd name="connsiteX107" fmla="*/ 460477 w 4572000"/>
              <a:gd name="connsiteY107" fmla="*/ 4827435 h 5143500"/>
              <a:gd name="connsiteX108" fmla="*/ 461640 w 4572000"/>
              <a:gd name="connsiteY108" fmla="*/ 4822502 h 5143500"/>
              <a:gd name="connsiteX109" fmla="*/ 458151 w 4572000"/>
              <a:gd name="connsiteY109" fmla="*/ 4816686 h 5143500"/>
              <a:gd name="connsiteX110" fmla="*/ 398012 w 4572000"/>
              <a:gd name="connsiteY110" fmla="*/ 4801292 h 5143500"/>
              <a:gd name="connsiteX111" fmla="*/ 1053744 w 4572000"/>
              <a:gd name="connsiteY111" fmla="*/ 4747249 h 5143500"/>
              <a:gd name="connsiteX112" fmla="*/ 994182 w 4572000"/>
              <a:gd name="connsiteY112" fmla="*/ 4808264 h 5143500"/>
              <a:gd name="connsiteX113" fmla="*/ 994182 w 4572000"/>
              <a:gd name="connsiteY113" fmla="*/ 4944812 h 5143500"/>
              <a:gd name="connsiteX114" fmla="*/ 999998 w 4572000"/>
              <a:gd name="connsiteY114" fmla="*/ 4950628 h 5143500"/>
              <a:gd name="connsiteX115" fmla="*/ 1025852 w 4572000"/>
              <a:gd name="connsiteY115" fmla="*/ 4950628 h 5143500"/>
              <a:gd name="connsiteX116" fmla="*/ 1026345 w 4572000"/>
              <a:gd name="connsiteY116" fmla="*/ 4950134 h 5143500"/>
              <a:gd name="connsiteX117" fmla="*/ 1027795 w 4572000"/>
              <a:gd name="connsiteY117" fmla="*/ 4950134 h 5143500"/>
              <a:gd name="connsiteX118" fmla="*/ 1033640 w 4572000"/>
              <a:gd name="connsiteY118" fmla="*/ 4944348 h 5143500"/>
              <a:gd name="connsiteX119" fmla="*/ 1033640 w 4572000"/>
              <a:gd name="connsiteY119" fmla="*/ 4837419 h 5143500"/>
              <a:gd name="connsiteX120" fmla="*/ 1070781 w 4572000"/>
              <a:gd name="connsiteY120" fmla="*/ 4837419 h 5143500"/>
              <a:gd name="connsiteX121" fmla="*/ 1076626 w 4572000"/>
              <a:gd name="connsiteY121" fmla="*/ 4831634 h 5143500"/>
              <a:gd name="connsiteX122" fmla="*/ 1076626 w 4572000"/>
              <a:gd name="connsiteY122" fmla="*/ 4811692 h 5143500"/>
              <a:gd name="connsiteX123" fmla="*/ 1070781 w 4572000"/>
              <a:gd name="connsiteY123" fmla="*/ 4805627 h 5143500"/>
              <a:gd name="connsiteX124" fmla="*/ 1068815 w 4572000"/>
              <a:gd name="connsiteY124" fmla="*/ 4805627 h 5143500"/>
              <a:gd name="connsiteX125" fmla="*/ 1068560 w 4572000"/>
              <a:gd name="connsiteY125" fmla="*/ 4805359 h 5143500"/>
              <a:gd name="connsiteX126" fmla="*/ 1033640 w 4572000"/>
              <a:gd name="connsiteY126" fmla="*/ 4805359 h 5143500"/>
              <a:gd name="connsiteX127" fmla="*/ 1033640 w 4572000"/>
              <a:gd name="connsiteY127" fmla="*/ 4802443 h 5143500"/>
              <a:gd name="connsiteX128" fmla="*/ 1056749 w 4572000"/>
              <a:gd name="connsiteY128" fmla="*/ 4778457 h 5143500"/>
              <a:gd name="connsiteX129" fmla="*/ 1071072 w 4572000"/>
              <a:gd name="connsiteY129" fmla="*/ 4779901 h 5143500"/>
              <a:gd name="connsiteX130" fmla="*/ 1076626 w 4572000"/>
              <a:gd name="connsiteY130" fmla="*/ 4774411 h 5143500"/>
              <a:gd name="connsiteX131" fmla="*/ 1079557 w 4572000"/>
              <a:gd name="connsiteY131" fmla="*/ 4759385 h 5143500"/>
              <a:gd name="connsiteX132" fmla="*/ 1080138 w 4572000"/>
              <a:gd name="connsiteY132" fmla="*/ 4755627 h 5143500"/>
              <a:gd name="connsiteX133" fmla="*/ 1074293 w 4572000"/>
              <a:gd name="connsiteY133" fmla="*/ 4749848 h 5143500"/>
              <a:gd name="connsiteX134" fmla="*/ 1072405 w 4572000"/>
              <a:gd name="connsiteY134" fmla="*/ 4749641 h 5143500"/>
              <a:gd name="connsiteX135" fmla="*/ 1072049 w 4572000"/>
              <a:gd name="connsiteY135" fmla="*/ 4749285 h 5143500"/>
              <a:gd name="connsiteX136" fmla="*/ 1053744 w 4572000"/>
              <a:gd name="connsiteY136" fmla="*/ 4747249 h 5143500"/>
              <a:gd name="connsiteX137" fmla="*/ 1115152 w 4572000"/>
              <a:gd name="connsiteY137" fmla="*/ 4747131 h 5143500"/>
              <a:gd name="connsiteX138" fmla="*/ 1095105 w 4572000"/>
              <a:gd name="connsiteY138" fmla="*/ 4767478 h 5143500"/>
              <a:gd name="connsiteX139" fmla="*/ 1116018 w 4572000"/>
              <a:gd name="connsiteY139" fmla="*/ 4787818 h 5143500"/>
              <a:gd name="connsiteX140" fmla="*/ 1136066 w 4572000"/>
              <a:gd name="connsiteY140" fmla="*/ 4767481 h 5143500"/>
              <a:gd name="connsiteX141" fmla="*/ 1115152 w 4572000"/>
              <a:gd name="connsiteY141" fmla="*/ 4747131 h 5143500"/>
              <a:gd name="connsiteX142" fmla="*/ 0 w 4572000"/>
              <a:gd name="connsiteY142" fmla="*/ 0 h 5143500"/>
              <a:gd name="connsiteX143" fmla="*/ 4572000 w 4572000"/>
              <a:gd name="connsiteY143" fmla="*/ 0 h 5143500"/>
              <a:gd name="connsiteX144" fmla="*/ 4572000 w 4572000"/>
              <a:gd name="connsiteY144" fmla="*/ 5143500 h 5143500"/>
              <a:gd name="connsiteX145" fmla="*/ 0 w 4572000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4572000" h="5143500">
                <a:moveTo>
                  <a:pt x="351364" y="4913481"/>
                </a:moveTo>
                <a:cubicBezTo>
                  <a:pt x="339457" y="4913486"/>
                  <a:pt x="331613" y="4921037"/>
                  <a:pt x="331614" y="4933530"/>
                </a:cubicBezTo>
                <a:cubicBezTo>
                  <a:pt x="331609" y="4945734"/>
                  <a:pt x="339457" y="4953580"/>
                  <a:pt x="352238" y="4953582"/>
                </a:cubicBezTo>
                <a:cubicBezTo>
                  <a:pt x="364154" y="4953577"/>
                  <a:pt x="371991" y="4945737"/>
                  <a:pt x="371988" y="4933533"/>
                </a:cubicBezTo>
                <a:cubicBezTo>
                  <a:pt x="371996" y="4921039"/>
                  <a:pt x="364154" y="4913482"/>
                  <a:pt x="351364" y="4913481"/>
                </a:cubicBezTo>
                <a:close/>
                <a:moveTo>
                  <a:pt x="892594" y="4837587"/>
                </a:moveTo>
                <a:lnTo>
                  <a:pt x="917847" y="4847631"/>
                </a:lnTo>
                <a:cubicBezTo>
                  <a:pt x="924092" y="4854457"/>
                  <a:pt x="927649" y="4864625"/>
                  <a:pt x="927649" y="4877990"/>
                </a:cubicBezTo>
                <a:cubicBezTo>
                  <a:pt x="927649" y="4891355"/>
                  <a:pt x="924092" y="4901524"/>
                  <a:pt x="918101" y="4908353"/>
                </a:cubicBezTo>
                <a:lnTo>
                  <a:pt x="894867" y="4918277"/>
                </a:lnTo>
                <a:lnTo>
                  <a:pt x="868934" y="4908080"/>
                </a:lnTo>
                <a:cubicBezTo>
                  <a:pt x="862646" y="4901288"/>
                  <a:pt x="859063" y="4891172"/>
                  <a:pt x="859063" y="4877877"/>
                </a:cubicBezTo>
                <a:cubicBezTo>
                  <a:pt x="859063" y="4864582"/>
                  <a:pt x="862646" y="4854468"/>
                  <a:pt x="868679" y="4847677"/>
                </a:cubicBezTo>
                <a:close/>
                <a:moveTo>
                  <a:pt x="559058" y="4837499"/>
                </a:moveTo>
                <a:lnTo>
                  <a:pt x="578337" y="4840021"/>
                </a:lnTo>
                <a:cubicBezTo>
                  <a:pt x="583310" y="4841465"/>
                  <a:pt x="585644" y="4843483"/>
                  <a:pt x="585644" y="4847817"/>
                </a:cubicBezTo>
                <a:lnTo>
                  <a:pt x="585644" y="4907937"/>
                </a:lnTo>
                <a:cubicBezTo>
                  <a:pt x="585644" y="4912270"/>
                  <a:pt x="583310" y="4914296"/>
                  <a:pt x="578337" y="4915741"/>
                </a:cubicBezTo>
                <a:lnTo>
                  <a:pt x="558606" y="4918322"/>
                </a:lnTo>
                <a:lnTo>
                  <a:pt x="534560" y="4909442"/>
                </a:lnTo>
                <a:cubicBezTo>
                  <a:pt x="527878" y="4902976"/>
                  <a:pt x="523520" y="4892806"/>
                  <a:pt x="523520" y="4877990"/>
                </a:cubicBezTo>
                <a:cubicBezTo>
                  <a:pt x="523520" y="4863173"/>
                  <a:pt x="527878" y="4853005"/>
                  <a:pt x="534560" y="4846542"/>
                </a:cubicBezTo>
                <a:close/>
                <a:moveTo>
                  <a:pt x="1101681" y="4805359"/>
                </a:moveTo>
                <a:cubicBezTo>
                  <a:pt x="1098193" y="4805359"/>
                  <a:pt x="1095865" y="4807677"/>
                  <a:pt x="1095865" y="4811167"/>
                </a:cubicBezTo>
                <a:lnTo>
                  <a:pt x="1095865" y="4944812"/>
                </a:lnTo>
                <a:cubicBezTo>
                  <a:pt x="1095865" y="4948301"/>
                  <a:pt x="1098193" y="4950628"/>
                  <a:pt x="1101681" y="4950628"/>
                </a:cubicBezTo>
                <a:lnTo>
                  <a:pt x="1127824" y="4950628"/>
                </a:lnTo>
                <a:lnTo>
                  <a:pt x="1128318" y="4950134"/>
                </a:lnTo>
                <a:lnTo>
                  <a:pt x="1130432" y="4950134"/>
                </a:lnTo>
                <a:cubicBezTo>
                  <a:pt x="1133944" y="4950134"/>
                  <a:pt x="1136286" y="4947819"/>
                  <a:pt x="1136286" y="4944348"/>
                </a:cubicBezTo>
                <a:lnTo>
                  <a:pt x="1136286" y="4811405"/>
                </a:lnTo>
                <a:cubicBezTo>
                  <a:pt x="1136286" y="4807934"/>
                  <a:pt x="1133944" y="4805627"/>
                  <a:pt x="1130432" y="4805627"/>
                </a:cubicBezTo>
                <a:lnTo>
                  <a:pt x="1128093" y="4805627"/>
                </a:lnTo>
                <a:lnTo>
                  <a:pt x="1127824" y="4805359"/>
                </a:lnTo>
                <a:close/>
                <a:moveTo>
                  <a:pt x="891921" y="4802455"/>
                </a:moveTo>
                <a:cubicBezTo>
                  <a:pt x="848338" y="4802455"/>
                  <a:pt x="819860" y="4834118"/>
                  <a:pt x="819860" y="4877990"/>
                </a:cubicBezTo>
                <a:cubicBezTo>
                  <a:pt x="819860" y="4921862"/>
                  <a:pt x="848338" y="4953533"/>
                  <a:pt x="893950" y="4953533"/>
                </a:cubicBezTo>
                <a:cubicBezTo>
                  <a:pt x="904845" y="4953533"/>
                  <a:pt x="914796" y="4951553"/>
                  <a:pt x="923594" y="4947899"/>
                </a:cubicBezTo>
                <a:lnTo>
                  <a:pt x="924072" y="4947569"/>
                </a:lnTo>
                <a:lnTo>
                  <a:pt x="924870" y="4947419"/>
                </a:lnTo>
                <a:cubicBezTo>
                  <a:pt x="951435" y="4936512"/>
                  <a:pt x="967554" y="4910608"/>
                  <a:pt x="967554" y="4877877"/>
                </a:cubicBezTo>
                <a:cubicBezTo>
                  <a:pt x="967554" y="4845146"/>
                  <a:pt x="951435" y="4819246"/>
                  <a:pt x="924009" y="4808342"/>
                </a:cubicBezTo>
                <a:lnTo>
                  <a:pt x="922788" y="4808122"/>
                </a:lnTo>
                <a:lnTo>
                  <a:pt x="922738" y="4808088"/>
                </a:lnTo>
                <a:cubicBezTo>
                  <a:pt x="913655" y="4804434"/>
                  <a:pt x="903323" y="4802455"/>
                  <a:pt x="891921" y="4802455"/>
                </a:cubicBezTo>
                <a:close/>
                <a:moveTo>
                  <a:pt x="725444" y="4802455"/>
                </a:moveTo>
                <a:cubicBezTo>
                  <a:pt x="708302" y="4802455"/>
                  <a:pt x="688256" y="4805359"/>
                  <a:pt x="667046" y="4812907"/>
                </a:cubicBezTo>
                <a:lnTo>
                  <a:pt x="666934" y="4813086"/>
                </a:lnTo>
                <a:lnTo>
                  <a:pt x="666651" y="4813136"/>
                </a:lnTo>
                <a:cubicBezTo>
                  <a:pt x="662557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8" y="4944785"/>
                </a:lnTo>
                <a:lnTo>
                  <a:pt x="659778" y="4944812"/>
                </a:lnTo>
                <a:cubicBezTo>
                  <a:pt x="659778" y="4948301"/>
                  <a:pt x="662104" y="4950628"/>
                  <a:pt x="665594" y="4950628"/>
                </a:cubicBezTo>
                <a:lnTo>
                  <a:pt x="691737" y="4950628"/>
                </a:lnTo>
                <a:cubicBezTo>
                  <a:pt x="695226" y="4950628"/>
                  <a:pt x="697553" y="4948301"/>
                  <a:pt x="697553" y="4944812"/>
                </a:cubicBezTo>
                <a:lnTo>
                  <a:pt x="697553" y="4847194"/>
                </a:lnTo>
                <a:lnTo>
                  <a:pt x="704449" y="4839717"/>
                </a:lnTo>
                <a:lnTo>
                  <a:pt x="726010" y="4837419"/>
                </a:lnTo>
                <a:lnTo>
                  <a:pt x="746014" y="4843168"/>
                </a:lnTo>
                <a:lnTo>
                  <a:pt x="754203" y="4862009"/>
                </a:lnTo>
                <a:lnTo>
                  <a:pt x="754203" y="4944812"/>
                </a:lnTo>
                <a:cubicBezTo>
                  <a:pt x="754203" y="4948301"/>
                  <a:pt x="756529" y="4950628"/>
                  <a:pt x="760019" y="4950628"/>
                </a:cubicBezTo>
                <a:lnTo>
                  <a:pt x="786161" y="4950628"/>
                </a:lnTo>
                <a:cubicBezTo>
                  <a:pt x="789651" y="4950628"/>
                  <a:pt x="791977" y="4948301"/>
                  <a:pt x="791977" y="4944812"/>
                </a:cubicBezTo>
                <a:lnTo>
                  <a:pt x="791977" y="4944762"/>
                </a:lnTo>
                <a:lnTo>
                  <a:pt x="792396" y="4944348"/>
                </a:lnTo>
                <a:lnTo>
                  <a:pt x="792396" y="4857065"/>
                </a:lnTo>
                <a:cubicBezTo>
                  <a:pt x="792396" y="4839438"/>
                  <a:pt x="786911" y="4825856"/>
                  <a:pt x="775798" y="4816682"/>
                </a:cubicBezTo>
                <a:lnTo>
                  <a:pt x="775550" y="4816558"/>
                </a:lnTo>
                <a:lnTo>
                  <a:pt x="775487" y="4816471"/>
                </a:lnTo>
                <a:cubicBezTo>
                  <a:pt x="764446" y="4807248"/>
                  <a:pt x="747813" y="4802455"/>
                  <a:pt x="725444" y="4802455"/>
                </a:cubicBezTo>
                <a:close/>
                <a:moveTo>
                  <a:pt x="559835" y="4802455"/>
                </a:moveTo>
                <a:cubicBezTo>
                  <a:pt x="548869" y="4802455"/>
                  <a:pt x="538720" y="4804289"/>
                  <a:pt x="529663" y="4807762"/>
                </a:cubicBezTo>
                <a:lnTo>
                  <a:pt x="529596" y="4807805"/>
                </a:lnTo>
                <a:lnTo>
                  <a:pt x="528373" y="4808018"/>
                </a:lnTo>
                <a:cubicBezTo>
                  <a:pt x="501027" y="4818381"/>
                  <a:pt x="483587" y="4843416"/>
                  <a:pt x="483587" y="4877877"/>
                </a:cubicBezTo>
                <a:cubicBezTo>
                  <a:pt x="483587" y="4912775"/>
                  <a:pt x="498720" y="4937596"/>
                  <a:pt x="526397" y="4947825"/>
                </a:cubicBezTo>
                <a:lnTo>
                  <a:pt x="527143" y="4947947"/>
                </a:lnTo>
                <a:lnTo>
                  <a:pt x="527701" y="4948307"/>
                </a:lnTo>
                <a:cubicBezTo>
                  <a:pt x="536867" y="4951735"/>
                  <a:pt x="547417" y="4953533"/>
                  <a:pt x="559257" y="4953533"/>
                </a:cubicBezTo>
                <a:cubicBezTo>
                  <a:pt x="578429" y="4953533"/>
                  <a:pt x="597023" y="4950331"/>
                  <a:pt x="617069" y="4941908"/>
                </a:cubicBezTo>
                <a:cubicBezTo>
                  <a:pt x="621723" y="4939879"/>
                  <a:pt x="624338" y="4936678"/>
                  <a:pt x="624338" y="4930284"/>
                </a:cubicBezTo>
                <a:lnTo>
                  <a:pt x="624338" y="4824821"/>
                </a:lnTo>
                <a:cubicBezTo>
                  <a:pt x="624338" y="4818138"/>
                  <a:pt x="621723" y="4814946"/>
                  <a:pt x="617069" y="4813204"/>
                </a:cubicBezTo>
                <a:cubicBezTo>
                  <a:pt x="597898" y="4805936"/>
                  <a:pt x="579880" y="4802455"/>
                  <a:pt x="559835" y="4802455"/>
                </a:cubicBezTo>
                <a:close/>
                <a:moveTo>
                  <a:pt x="398012" y="4801292"/>
                </a:moveTo>
                <a:lnTo>
                  <a:pt x="396528" y="4801750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7" y="4940590"/>
                  <a:pt x="423937" y="4944348"/>
                </a:cubicBezTo>
                <a:cubicBezTo>
                  <a:pt x="423646" y="4944931"/>
                  <a:pt x="423646" y="4945505"/>
                  <a:pt x="423646" y="4946089"/>
                </a:cubicBezTo>
                <a:cubicBezTo>
                  <a:pt x="423646" y="4948394"/>
                  <a:pt x="425107" y="4950134"/>
                  <a:pt x="428030" y="4950134"/>
                </a:cubicBezTo>
                <a:lnTo>
                  <a:pt x="429441" y="4950134"/>
                </a:lnTo>
                <a:lnTo>
                  <a:pt x="429970" y="4950628"/>
                </a:lnTo>
                <a:lnTo>
                  <a:pt x="456122" y="4950628"/>
                </a:lnTo>
                <a:cubicBezTo>
                  <a:pt x="460477" y="4950628"/>
                  <a:pt x="462217" y="4949176"/>
                  <a:pt x="463669" y="4944812"/>
                </a:cubicBezTo>
                <a:cubicBezTo>
                  <a:pt x="465419" y="4939879"/>
                  <a:pt x="465995" y="4933196"/>
                  <a:pt x="465995" y="4928255"/>
                </a:cubicBezTo>
                <a:cubicBezTo>
                  <a:pt x="465995" y="4862299"/>
                  <a:pt x="372446" y="4878177"/>
                  <a:pt x="372446" y="4850972"/>
                </a:cubicBezTo>
                <a:cubicBezTo>
                  <a:pt x="372446" y="4846523"/>
                  <a:pt x="374698" y="4842891"/>
                  <a:pt x="378875" y="4840371"/>
                </a:cubicBezTo>
                <a:lnTo>
                  <a:pt x="395405" y="4836760"/>
                </a:lnTo>
                <a:lnTo>
                  <a:pt x="438849" y="4849557"/>
                </a:lnTo>
                <a:cubicBezTo>
                  <a:pt x="440310" y="4850418"/>
                  <a:pt x="441772" y="4850714"/>
                  <a:pt x="443233" y="4850714"/>
                </a:cubicBezTo>
                <a:lnTo>
                  <a:pt x="443816" y="4850348"/>
                </a:lnTo>
                <a:lnTo>
                  <a:pt x="445075" y="4850684"/>
                </a:lnTo>
                <a:cubicBezTo>
                  <a:pt x="447690" y="4850684"/>
                  <a:pt x="450306" y="4849231"/>
                  <a:pt x="451468" y="4846616"/>
                </a:cubicBezTo>
                <a:lnTo>
                  <a:pt x="460477" y="4827435"/>
                </a:lnTo>
                <a:cubicBezTo>
                  <a:pt x="461318" y="4825652"/>
                  <a:pt x="461640" y="4823954"/>
                  <a:pt x="461640" y="4822502"/>
                </a:cubicBezTo>
                <a:cubicBezTo>
                  <a:pt x="461640" y="4820176"/>
                  <a:pt x="460486" y="4817858"/>
                  <a:pt x="458151" y="4816686"/>
                </a:cubicBezTo>
                <a:cubicBezTo>
                  <a:pt x="440142" y="4806226"/>
                  <a:pt x="418636" y="4801292"/>
                  <a:pt x="398012" y="4801292"/>
                </a:cubicBezTo>
                <a:close/>
                <a:moveTo>
                  <a:pt x="1053744" y="4747249"/>
                </a:moveTo>
                <a:cubicBezTo>
                  <a:pt x="1017718" y="4747249"/>
                  <a:pt x="994182" y="4766420"/>
                  <a:pt x="994182" y="4808264"/>
                </a:cubicBezTo>
                <a:lnTo>
                  <a:pt x="994182" y="4944812"/>
                </a:lnTo>
                <a:cubicBezTo>
                  <a:pt x="994182" y="4948301"/>
                  <a:pt x="996508" y="4950628"/>
                  <a:pt x="999998" y="4950628"/>
                </a:cubicBezTo>
                <a:lnTo>
                  <a:pt x="1025852" y="4950628"/>
                </a:lnTo>
                <a:lnTo>
                  <a:pt x="1026345" y="4950134"/>
                </a:lnTo>
                <a:lnTo>
                  <a:pt x="1027795" y="4950134"/>
                </a:lnTo>
                <a:cubicBezTo>
                  <a:pt x="1031307" y="4950134"/>
                  <a:pt x="1033640" y="4947819"/>
                  <a:pt x="1033640" y="4944348"/>
                </a:cubicBezTo>
                <a:lnTo>
                  <a:pt x="1033640" y="4837419"/>
                </a:lnTo>
                <a:lnTo>
                  <a:pt x="1070781" y="4837419"/>
                </a:lnTo>
                <a:cubicBezTo>
                  <a:pt x="1074584" y="4837419"/>
                  <a:pt x="1076626" y="4835105"/>
                  <a:pt x="1076626" y="4831634"/>
                </a:cubicBezTo>
                <a:lnTo>
                  <a:pt x="1076626" y="4811692"/>
                </a:lnTo>
                <a:cubicBezTo>
                  <a:pt x="1076626" y="4807934"/>
                  <a:pt x="1074584" y="4805627"/>
                  <a:pt x="1070781" y="4805627"/>
                </a:cubicBezTo>
                <a:lnTo>
                  <a:pt x="1068815" y="4805627"/>
                </a:lnTo>
                <a:lnTo>
                  <a:pt x="1068560" y="4805359"/>
                </a:lnTo>
                <a:lnTo>
                  <a:pt x="1033640" y="4805359"/>
                </a:lnTo>
                <a:lnTo>
                  <a:pt x="1033640" y="4802443"/>
                </a:lnTo>
                <a:cubicBezTo>
                  <a:pt x="1033640" y="4786548"/>
                  <a:pt x="1040664" y="4778457"/>
                  <a:pt x="1056749" y="4778457"/>
                </a:cubicBezTo>
                <a:cubicBezTo>
                  <a:pt x="1062594" y="4778457"/>
                  <a:pt x="1068893" y="4779901"/>
                  <a:pt x="1071072" y="4779901"/>
                </a:cubicBezTo>
                <a:cubicBezTo>
                  <a:pt x="1074584" y="4779901"/>
                  <a:pt x="1076046" y="4777882"/>
                  <a:pt x="1076626" y="4774411"/>
                </a:cubicBezTo>
                <a:lnTo>
                  <a:pt x="1079557" y="4759385"/>
                </a:lnTo>
                <a:cubicBezTo>
                  <a:pt x="1079814" y="4758050"/>
                  <a:pt x="1080138" y="4756876"/>
                  <a:pt x="1080138" y="4755627"/>
                </a:cubicBezTo>
                <a:cubicBezTo>
                  <a:pt x="1080138" y="4752417"/>
                  <a:pt x="1078387" y="4750711"/>
                  <a:pt x="1074293" y="4749848"/>
                </a:cubicBezTo>
                <a:lnTo>
                  <a:pt x="1072405" y="4749641"/>
                </a:lnTo>
                <a:lnTo>
                  <a:pt x="1072049" y="4749285"/>
                </a:lnTo>
                <a:cubicBezTo>
                  <a:pt x="1066233" y="4747834"/>
                  <a:pt x="1059942" y="4747249"/>
                  <a:pt x="1053744" y="4747249"/>
                </a:cubicBezTo>
                <a:close/>
                <a:moveTo>
                  <a:pt x="1115152" y="4747131"/>
                </a:moveTo>
                <a:cubicBezTo>
                  <a:pt x="1102948" y="4747139"/>
                  <a:pt x="1095102" y="4754688"/>
                  <a:pt x="1095105" y="4767478"/>
                </a:cubicBezTo>
                <a:cubicBezTo>
                  <a:pt x="1095102" y="4779971"/>
                  <a:pt x="1102948" y="4787811"/>
                  <a:pt x="1116018" y="4787818"/>
                </a:cubicBezTo>
                <a:cubicBezTo>
                  <a:pt x="1127933" y="4787817"/>
                  <a:pt x="1136071" y="4779974"/>
                  <a:pt x="1136066" y="4767481"/>
                </a:cubicBezTo>
                <a:cubicBezTo>
                  <a:pt x="1136071" y="4754690"/>
                  <a:pt x="1127933" y="4747137"/>
                  <a:pt x="1115152" y="4747131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EF5BFE2C-3893-4574-8E43-0A067887093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75962" y="4580364"/>
            <a:ext cx="5452496" cy="70594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4375" b="0" i="1" kern="1200" dirty="0">
                <a:solidFill>
                  <a:schemeClr val="accent2"/>
                </a:solidFill>
                <a:latin typeface="Sanofi Serif" panose="02060503060201090102" pitchFamily="18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487398" indent="0" algn="ctr">
              <a:lnSpc>
                <a:spcPct val="100000"/>
              </a:lnSpc>
              <a:buFont typeface="Arial" panose="020B0604020202020204" pitchFamily="34" charset="0"/>
              <a:buNone/>
              <a:defRPr sz="4375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 err="1"/>
              <a:t>Subtitle</a:t>
            </a:r>
            <a:endParaRPr lang="fr-FR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E331AD24-1AAB-440A-917D-3BB2B9658D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575962" y="5398017"/>
            <a:ext cx="5452496" cy="434681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750"/>
              </a:spcAft>
              <a:defRPr lang="en-US" sz="2450" b="0" i="0" kern="1200" dirty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487398" indent="0" algn="l">
              <a:lnSpc>
                <a:spcPct val="100000"/>
              </a:lnSpc>
              <a:buFont typeface="Arial" panose="020B0604020202020204" pitchFamily="34" charset="0"/>
              <a:buNone/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fr-FR"/>
              <a:t>Intro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4110FB-0C00-9F41-F9F7-EB50B29B5B56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10927360" y="8446347"/>
            <a:ext cx="2882414" cy="291549"/>
          </a:xfrm>
        </p:spPr>
        <p:txBody>
          <a:bodyPr/>
          <a:lstStyle>
            <a:lvl1pPr algn="ctr">
              <a:defRPr/>
            </a:lvl1pPr>
          </a:lstStyle>
          <a:p>
            <a:fld id="{E63B1AEB-DB77-42F9-860B-357ECFE183EA}" type="datetime1">
              <a:rPr lang="en-US" smtClean="0"/>
              <a:pPr/>
              <a:t>5/22/2026</a:t>
            </a:fld>
            <a:endParaRPr lang="en-US"/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FC9788C5-8153-9ED6-4364-D840EC9DF5F8}"/>
              </a:ext>
            </a:extLst>
          </p:cNvPr>
          <p:cNvCxnSpPr>
            <a:cxnSpLocks/>
          </p:cNvCxnSpPr>
          <p:nvPr userDrawn="1"/>
        </p:nvCxnSpPr>
        <p:spPr>
          <a:xfrm>
            <a:off x="-985524" y="279986"/>
            <a:ext cx="8840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31F1F229-D3A6-1B2C-E1A2-3AE65085B42C}"/>
              </a:ext>
            </a:extLst>
          </p:cNvPr>
          <p:cNvSpPr txBox="1"/>
          <p:nvPr userDrawn="1"/>
        </p:nvSpPr>
        <p:spPr>
          <a:xfrm>
            <a:off x="-4317094" y="79850"/>
            <a:ext cx="3164598" cy="7794441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add an imag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the icon inside the image placehold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Select the image you want to use from your comput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“Open”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Adjust or crop the image if necessary by using the button “Crop” in the top ribbon.</a:t>
            </a:r>
          </a:p>
          <a:p>
            <a:pPr marL="299998" indent="-299998">
              <a:buFontTx/>
              <a:buChar char="-"/>
            </a:pPr>
            <a:endParaRPr lang="en-US" sz="1925">
              <a:latin typeface="Sanofi Sans" panose="02010503030201020103" pitchFamily="2" charset="77"/>
            </a:endParaRPr>
          </a:p>
          <a:p>
            <a:pPr marL="0" indent="0">
              <a:buFontTx/>
              <a:buNone/>
            </a:pPr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r>
              <a:rPr lang="en-US" sz="1925" b="1">
                <a:latin typeface="Sanofi Sans" panose="02010503030201020103" pitchFamily="2" charset="77"/>
              </a:rPr>
              <a:t>Add Alt Text or mark as decorativ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Right click on the image and select “View Alt Text”.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ype in the blank field that appears on the right of the slide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If Alt Text isn’t relevant, tick the box to “Mark element as decorative”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C66E39-4298-5EBC-A059-10DC55375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843247" y="4387518"/>
            <a:ext cx="544066" cy="1088389"/>
          </a:xfrm>
          <a:prstGeom prst="rect">
            <a:avLst/>
          </a:prstGeom>
        </p:spPr>
      </p:pic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2246413" y="2495823"/>
            <a:ext cx="128475" cy="125978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/>
              <a:t>Cliquez sur l'icône pour ajouter un graphique SmartArt</a:t>
            </a:r>
          </a:p>
        </p:txBody>
      </p: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16B17374-481A-4CE6-8974-CA84865A03C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9" hasCustomPrompt="1"/>
          </p:nvPr>
        </p:nvSpPr>
        <p:spPr>
          <a:xfrm>
            <a:off x="12246413" y="6377739"/>
            <a:ext cx="128475" cy="125978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/>
              <a:t>l'icône pour ajouter un graphique SmartArt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C4A45050-8DAA-256F-164F-C7D3B40D51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4769304" y="9422302"/>
            <a:ext cx="843774" cy="359987"/>
          </a:xfrm>
        </p:spPr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72D02FD0-8CDC-7C97-2AE2-28ECAD145EC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2961929" y="9496525"/>
            <a:ext cx="7938215" cy="29155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CF060A2-7839-14BE-1DA8-DA92ADE5B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75961" y="3219636"/>
            <a:ext cx="5452497" cy="1259778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65777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57ABA74F-C66E-EFE5-0037-1BE55A1D41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89506" y="-2185803"/>
            <a:ext cx="12278158" cy="9608681"/>
          </a:xfrm>
        </p:spPr>
        <p:txBody>
          <a:bodyPr/>
          <a:lstStyle>
            <a:lvl1pPr algn="r">
              <a:defRPr sz="69992" b="0" i="1">
                <a:ln w="12700">
                  <a:solidFill>
                    <a:schemeClr val="bg1"/>
                  </a:solidFill>
                </a:ln>
                <a:noFill/>
                <a:latin typeface="Sanofi Serif" panose="02060503060201090102" pitchFamily="18" charset="77"/>
              </a:defRPr>
            </a:lvl1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850C01E-EF42-C727-E5CD-F9340FE9C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778" y="2664109"/>
            <a:ext cx="8269759" cy="3671322"/>
          </a:xfrm>
        </p:spPr>
        <p:txBody>
          <a:bodyPr/>
          <a:lstStyle>
            <a:lvl1pPr>
              <a:lnSpc>
                <a:spcPct val="100000"/>
              </a:lnSpc>
              <a:defRPr sz="11549" b="0" i="1">
                <a:solidFill>
                  <a:schemeClr val="bg1"/>
                </a:solidFill>
                <a:latin typeface="Sanofi Serif" panose="02060503060201090102" pitchFamily="18" charset="77"/>
              </a:defRPr>
            </a:lvl1pPr>
          </a:lstStyle>
          <a:p>
            <a:r>
              <a:rPr lang="fr-FR"/>
              <a:t>Principal </a:t>
            </a:r>
            <a:br>
              <a:rPr lang="fr-FR"/>
            </a:br>
            <a:r>
              <a:rPr lang="fr-FR" err="1"/>
              <a:t>title</a:t>
            </a:r>
            <a:endParaRPr lang="en-GB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F81BE6B8-FAD9-FE7C-47CE-02BAB1E1BA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6776" y="6521890"/>
            <a:ext cx="4340432" cy="1155029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</a:p>
          <a:p>
            <a:pPr lvl="0"/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</a:p>
          <a:p>
            <a:pPr lvl="0"/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dolore</a:t>
            </a:r>
            <a:r>
              <a:rPr lang="fr-FR"/>
              <a:t> magna </a:t>
            </a:r>
          </a:p>
          <a:p>
            <a:pPr lvl="0"/>
            <a:r>
              <a:rPr lang="fr-FR" err="1"/>
              <a:t>aliquam</a:t>
            </a:r>
            <a:r>
              <a:rPr lang="fr-FR"/>
              <a:t> erat </a:t>
            </a:r>
            <a:r>
              <a:rPr lang="fr-FR" err="1"/>
              <a:t>volutpat</a:t>
            </a:r>
            <a:r>
              <a:rPr lang="fr-FR"/>
              <a:t>. Ut </a:t>
            </a:r>
            <a:r>
              <a:rPr lang="fr-FR" err="1"/>
              <a:t>wisi</a:t>
            </a:r>
            <a:r>
              <a:rPr lang="fr-FR"/>
              <a:t> </a:t>
            </a:r>
            <a:r>
              <a:rPr lang="fr-FR" err="1"/>
              <a:t>enim</a:t>
            </a:r>
            <a:r>
              <a:rPr lang="fr-FR"/>
              <a:t>.</a:t>
            </a:r>
            <a:endParaRPr lang="en-GB"/>
          </a:p>
        </p:txBody>
      </p:sp>
      <p:grpSp>
        <p:nvGrpSpPr>
          <p:cNvPr id="3" name="Graphique 7">
            <a:extLst>
              <a:ext uri="{FF2B5EF4-FFF2-40B4-BE49-F238E27FC236}">
                <a16:creationId xmlns:a16="http://schemas.microsoft.com/office/drawing/2014/main" id="{7F535FCB-BD03-B37F-9847-941B64200B5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6667" y="8307889"/>
            <a:ext cx="1420181" cy="36108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4" name="Forme libre : forme 7">
              <a:extLst>
                <a:ext uri="{FF2B5EF4-FFF2-40B4-BE49-F238E27FC236}">
                  <a16:creationId xmlns:a16="http://schemas.microsoft.com/office/drawing/2014/main" id="{3E560110-0A07-B361-DD8A-0963590E1E9B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  <p:sp>
          <p:nvSpPr>
            <p:cNvPr id="5" name="Forme libre : forme 8">
              <a:extLst>
                <a:ext uri="{FF2B5EF4-FFF2-40B4-BE49-F238E27FC236}">
                  <a16:creationId xmlns:a16="http://schemas.microsoft.com/office/drawing/2014/main" id="{035C702C-0E0C-1FEE-3786-C33D090DAA07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solidFill>
                  <a:schemeClr val="accent2"/>
                </a:solidFill>
                <a:latin typeface="Sanofi Sans" panose="02010503030201020103" pitchFamily="2" charset="0"/>
              </a:endParaRPr>
            </a:p>
          </p:txBody>
        </p:sp>
        <p:sp>
          <p:nvSpPr>
            <p:cNvPr id="6" name="Forme libre : forme 9">
              <a:extLst>
                <a:ext uri="{FF2B5EF4-FFF2-40B4-BE49-F238E27FC236}">
                  <a16:creationId xmlns:a16="http://schemas.microsoft.com/office/drawing/2014/main" id="{BDEDAC31-3BCA-E29F-5DCD-FEFCBABAC55F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42126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57ABA74F-C66E-EFE5-0037-1BE55A1D41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89506" y="-2185803"/>
            <a:ext cx="12278158" cy="9608681"/>
          </a:xfrm>
        </p:spPr>
        <p:txBody>
          <a:bodyPr/>
          <a:lstStyle>
            <a:lvl1pPr algn="r">
              <a:defRPr sz="69992" b="0" i="1">
                <a:ln w="12700">
                  <a:solidFill>
                    <a:schemeClr val="accent2"/>
                  </a:solidFill>
                </a:ln>
                <a:noFill/>
                <a:latin typeface="Sanofi Serif" panose="02060503060201090102" pitchFamily="18" charset="77"/>
              </a:defRPr>
            </a:lvl1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850C01E-EF42-C727-E5CD-F9340FE9C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778" y="2664109"/>
            <a:ext cx="8269759" cy="3671322"/>
          </a:xfrm>
        </p:spPr>
        <p:txBody>
          <a:bodyPr/>
          <a:lstStyle>
            <a:lvl1pPr>
              <a:lnSpc>
                <a:spcPct val="100000"/>
              </a:lnSpc>
              <a:defRPr sz="11549" b="0" i="1">
                <a:latin typeface="Sanofi Serif" panose="02060503060201090102" pitchFamily="18" charset="77"/>
              </a:defRPr>
            </a:lvl1pPr>
          </a:lstStyle>
          <a:p>
            <a:r>
              <a:rPr lang="fr-FR"/>
              <a:t>Principal </a:t>
            </a:r>
            <a:br>
              <a:rPr lang="fr-FR"/>
            </a:br>
            <a:r>
              <a:rPr lang="fr-FR" err="1"/>
              <a:t>title</a:t>
            </a:r>
            <a:endParaRPr lang="en-GB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F81BE6B8-FAD9-FE7C-47CE-02BAB1E1BA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6776" y="6521890"/>
            <a:ext cx="4340432" cy="1155029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</a:p>
          <a:p>
            <a:pPr lvl="0"/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</a:p>
          <a:p>
            <a:pPr lvl="0"/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dolore</a:t>
            </a:r>
            <a:r>
              <a:rPr lang="fr-FR"/>
              <a:t> magna </a:t>
            </a:r>
          </a:p>
          <a:p>
            <a:pPr lvl="0"/>
            <a:r>
              <a:rPr lang="fr-FR" err="1"/>
              <a:t>aliquam</a:t>
            </a:r>
            <a:r>
              <a:rPr lang="fr-FR"/>
              <a:t> erat </a:t>
            </a:r>
            <a:r>
              <a:rPr lang="fr-FR" err="1"/>
              <a:t>volutpat</a:t>
            </a:r>
            <a:r>
              <a:rPr lang="fr-FR"/>
              <a:t>. Ut </a:t>
            </a:r>
            <a:r>
              <a:rPr lang="fr-FR" err="1"/>
              <a:t>wisi</a:t>
            </a:r>
            <a:r>
              <a:rPr lang="fr-FR"/>
              <a:t> </a:t>
            </a:r>
            <a:r>
              <a:rPr lang="fr-FR" err="1"/>
              <a:t>enim</a:t>
            </a:r>
            <a:r>
              <a:rPr lang="fr-FR"/>
              <a:t>.</a:t>
            </a:r>
            <a:endParaRPr lang="en-GB"/>
          </a:p>
        </p:txBody>
      </p:sp>
      <p:pic>
        <p:nvPicPr>
          <p:cNvPr id="3" name="Picture 8" descr="Shape&#10;&#10;Description automatically generated with low confidence">
            <a:extLst>
              <a:ext uri="{FF2B5EF4-FFF2-40B4-BE49-F238E27FC236}">
                <a16:creationId xmlns:a16="http://schemas.microsoft.com/office/drawing/2014/main" id="{A050012F-03BE-80FB-2AE6-2639A42DCC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735" y="8042178"/>
            <a:ext cx="2050216" cy="93383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44483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920CC99-2862-47B8-AA12-B455F7B72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B2003F5C-CB72-4CF3-92F6-48DF799244F6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91270" y="1874477"/>
            <a:ext cx="15020485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>
              <a:spcBef>
                <a:spcPts val="698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87363" y="2345799"/>
            <a:ext cx="15020485" cy="5614781"/>
          </a:xfrm>
        </p:spPr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  <a:lvl2pPr>
              <a:defRPr>
                <a:latin typeface="Sanofi Sans" panose="02010503030201020103" pitchFamily="2" charset="77"/>
              </a:defRPr>
            </a:lvl2pPr>
            <a:lvl3pPr>
              <a:defRPr>
                <a:latin typeface="Sanofi Sans" panose="02010503030201020103" pitchFamily="2" charset="77"/>
              </a:defRPr>
            </a:lvl3pPr>
            <a:lvl4pPr>
              <a:defRPr>
                <a:latin typeface="Sanofi Sans" panose="02010503030201020103" pitchFamily="2" charset="77"/>
              </a:defRPr>
            </a:lvl4pPr>
            <a:lvl5pPr>
              <a:defRPr>
                <a:latin typeface="Sanofi Sans" panose="02010503030201020103" pitchFamily="2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93C29EC-5464-0834-D51C-A9AB8A6629A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/>
          <p:nvPr userDrawn="1"/>
        </p:nvCxnSpPr>
        <p:spPr>
          <a:xfrm flipV="1">
            <a:off x="1275602" y="9066201"/>
            <a:ext cx="0" cy="5374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DB5A1BAF-ECC3-7733-68D4-3A81A983872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5107" y="11007319"/>
            <a:ext cx="4752034" cy="2197987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740BADD-8356-05B8-7002-0F37FB3E682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 userDrawn="1"/>
        </p:nvCxnSpPr>
        <p:spPr>
          <a:xfrm>
            <a:off x="-931525" y="2545934"/>
            <a:ext cx="8840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960EE43-3B74-E61E-9449-CCBE2DD02EB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4047089" y="4659763"/>
            <a:ext cx="1134031" cy="1364931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25010A6-951F-D1C6-46D1-4DDD402C17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12337451" y="9162863"/>
            <a:ext cx="0" cy="5692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CB1D4E-EF9E-D9A4-7C5C-51E33DAC1C4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CE4111-FD6C-60E8-ED51-6C73EB95F83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fld id="{2EB1A2A6-018C-487A-80EC-25FC6F1EE24C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A642AD8-B0E2-D9ED-F188-1C9CEC86A5E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Sanofi Sans" panose="02010503030201020103" pitchFamily="2" charset="77"/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C67134-0EE3-78D7-1AAC-1E140F4A49E6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 txBox="1"/>
          <p:nvPr userDrawn="1"/>
        </p:nvSpPr>
        <p:spPr>
          <a:xfrm>
            <a:off x="216006" y="9828072"/>
            <a:ext cx="9882267" cy="981038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Maintain the logo protection area:</a:t>
            </a:r>
          </a:p>
          <a:p>
            <a:r>
              <a:rPr lang="en-US" sz="1925">
                <a:latin typeface="Sanofi Sans" panose="02010503030201020103" pitchFamily="2" charset="77"/>
              </a:rPr>
              <a:t>Please do not allow your content to be too close of over the Sanofi logo. There should always be enough free space around the logo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C337C89-F73C-91C5-3362-802FEEB8AB83}"/>
              </a:ext>
            </a:extLst>
          </p:cNvPr>
          <p:cNvSpPr txBox="1"/>
          <p:nvPr userDrawn="1"/>
        </p:nvSpPr>
        <p:spPr>
          <a:xfrm>
            <a:off x="10310538" y="9830135"/>
            <a:ext cx="5889899" cy="1573508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change date format: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Go to the “Insert” tab in the top ribbon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“Header &amp; Footer”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hoose the desired date format from </a:t>
            </a:r>
          </a:p>
          <a:p>
            <a:pPr marL="499996" indent="-499996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he dropdown and save your changes</a:t>
            </a:r>
          </a:p>
        </p:txBody>
      </p:sp>
      <p:pic>
        <p:nvPicPr>
          <p:cNvPr id="16" name="Picture 15" descr="A picture containing text, design&#10;&#10;Description automatically generated">
            <a:extLst>
              <a:ext uri="{FF2B5EF4-FFF2-40B4-BE49-F238E27FC236}">
                <a16:creationId xmlns:a16="http://schemas.microsoft.com/office/drawing/2014/main" id="{2FA72BFB-1765-8281-6423-3EB1C716CE4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0538" y="11593964"/>
            <a:ext cx="926063" cy="128292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E428517-71C2-A7B0-3EB2-A45AFCB60B02}"/>
              </a:ext>
            </a:extLst>
          </p:cNvPr>
          <p:cNvSpPr txBox="1"/>
          <p:nvPr userDrawn="1"/>
        </p:nvSpPr>
        <p:spPr>
          <a:xfrm>
            <a:off x="-4263094" y="2345797"/>
            <a:ext cx="3164598" cy="3647152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Using bullets with the indent button:</a:t>
            </a:r>
          </a:p>
          <a:p>
            <a:r>
              <a:rPr lang="en-US" sz="1925">
                <a:latin typeface="Sanofi Sans" panose="02010503030201020103" pitchFamily="2" charset="77"/>
              </a:rPr>
              <a:t>Use the indent button to create the text levels with the appropriate bullet in miracle purple.</a:t>
            </a: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49963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621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3C3353-532F-470C-976B-DF4E883F1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88" y="505889"/>
            <a:ext cx="10157766" cy="125977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F3196DAB-B773-4CB8-B0BB-E2663F22689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1272" y="1874477"/>
            <a:ext cx="10157191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>
              <a:spcBef>
                <a:spcPts val="698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BF4ECDC-1329-46C8-8342-5FD3297D56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7365" y="2345799"/>
            <a:ext cx="10157191" cy="561478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1244635" y="0"/>
            <a:ext cx="4955803" cy="8999538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68404-4078-B17F-4813-BA764612128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A106B2-2CD7-EE19-12C2-78F07D9B677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/>
            </a:lvl1pPr>
          </a:lstStyle>
          <a:p>
            <a:fld id="{32445ADE-84A6-426F-98D2-48FC9081D9F3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A13D38-194B-6B72-337E-FE468EF85BF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FDC70AA-3EDA-E09E-37DA-F5EF20406DAF}"/>
              </a:ext>
            </a:extLst>
          </p:cNvPr>
          <p:cNvCxnSpPr>
            <a:cxnSpLocks/>
          </p:cNvCxnSpPr>
          <p:nvPr userDrawn="1"/>
        </p:nvCxnSpPr>
        <p:spPr>
          <a:xfrm flipH="1">
            <a:off x="16264029" y="1426364"/>
            <a:ext cx="107044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B89D67-050E-49E1-96D2-EC4ACA0C6259}"/>
              </a:ext>
            </a:extLst>
          </p:cNvPr>
          <p:cNvSpPr txBox="1"/>
          <p:nvPr userDrawn="1"/>
        </p:nvSpPr>
        <p:spPr>
          <a:xfrm>
            <a:off x="17515178" y="1224251"/>
            <a:ext cx="3164598" cy="4832092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add an imag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the icon inside the image placehold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Select the image you want to use from your comput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“Open”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Adjust or crop the image if necessary by using the button “Crop” in the top ribbon.</a:t>
            </a:r>
          </a:p>
          <a:p>
            <a:pPr marL="299998" indent="-299998">
              <a:buFontTx/>
              <a:buChar char="-"/>
            </a:pPr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7A664-F7B8-D5D5-8A4F-F3A4C38035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39098" y="5569302"/>
            <a:ext cx="658142" cy="1316599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4AFC5D9-0509-B208-F192-884C9DC2CD51}"/>
              </a:ext>
            </a:extLst>
          </p:cNvPr>
          <p:cNvCxnSpPr>
            <a:cxnSpLocks/>
          </p:cNvCxnSpPr>
          <p:nvPr userDrawn="1"/>
        </p:nvCxnSpPr>
        <p:spPr>
          <a:xfrm>
            <a:off x="-931525" y="2545934"/>
            <a:ext cx="8840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11">
            <a:extLst>
              <a:ext uri="{FF2B5EF4-FFF2-40B4-BE49-F238E27FC236}">
                <a16:creationId xmlns:a16="http://schemas.microsoft.com/office/drawing/2014/main" id="{4700FD40-41D2-41B9-12AC-4CE0867153E1}"/>
              </a:ext>
            </a:extLst>
          </p:cNvPr>
          <p:cNvSpPr txBox="1"/>
          <p:nvPr userDrawn="1"/>
        </p:nvSpPr>
        <p:spPr>
          <a:xfrm>
            <a:off x="-4263094" y="2345797"/>
            <a:ext cx="3164598" cy="3647152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Using bullets with the indent button:</a:t>
            </a:r>
          </a:p>
          <a:p>
            <a:r>
              <a:rPr lang="en-US" sz="1925">
                <a:latin typeface="Sanofi Sans" panose="02010503030201020103" pitchFamily="2" charset="77"/>
              </a:rPr>
              <a:t>Use the indent button to create the text levels with the appropriate bullet in miracle purple.</a:t>
            </a: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2EAB7566-1DEC-79D3-622E-1E98EDD62A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4047089" y="4659763"/>
            <a:ext cx="1134031" cy="1364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9738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1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s + 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Lilas, violette, Magenta, bleu&#10;&#10;Le contenu généré par l’IA peut être incorrect.">
            <a:extLst>
              <a:ext uri="{FF2B5EF4-FFF2-40B4-BE49-F238E27FC236}">
                <a16:creationId xmlns:a16="http://schemas.microsoft.com/office/drawing/2014/main" id="{28CE88D6-4ADB-0EEF-5F4B-B155B1C69B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475FC262-8BB5-8088-9A5E-EAEB561617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667"/>
            <a:ext cx="16200438" cy="9002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065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AD8BD9-8520-41B8-97B9-B2853F4C4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90" y="505889"/>
            <a:ext cx="7136859" cy="125977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AF3408D4-3F1B-42DA-9498-07BBCDC902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1272" y="1874477"/>
            <a:ext cx="7136281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>
              <a:spcBef>
                <a:spcPts val="698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r>
              <a:rPr lang="fr-FR" noProof="0"/>
              <a:t> exemp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972CF1A-7155-4C76-B467-0170E3D53F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7367" y="2345799"/>
            <a:ext cx="7136281" cy="561478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00219" y="0"/>
            <a:ext cx="8100219" cy="8999538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95A22C1-24A2-A92E-6374-B63F255991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9ACA39-4BC7-5AC4-76B9-B56A48A55BB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fld id="{B91B1E43-4FEA-49C1-8890-5714C0610762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35421E6-F36E-183E-5372-92ED31FF82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E53CFE5-5EB4-CAFF-4DEF-65738D73A976}"/>
              </a:ext>
            </a:extLst>
          </p:cNvPr>
          <p:cNvCxnSpPr>
            <a:cxnSpLocks/>
          </p:cNvCxnSpPr>
          <p:nvPr userDrawn="1"/>
        </p:nvCxnSpPr>
        <p:spPr>
          <a:xfrm>
            <a:off x="-931525" y="2545934"/>
            <a:ext cx="8840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1">
            <a:extLst>
              <a:ext uri="{FF2B5EF4-FFF2-40B4-BE49-F238E27FC236}">
                <a16:creationId xmlns:a16="http://schemas.microsoft.com/office/drawing/2014/main" id="{0D64B342-3BD4-11AF-1249-91F94251C507}"/>
              </a:ext>
            </a:extLst>
          </p:cNvPr>
          <p:cNvSpPr txBox="1"/>
          <p:nvPr userDrawn="1"/>
        </p:nvSpPr>
        <p:spPr>
          <a:xfrm>
            <a:off x="-4263094" y="2345797"/>
            <a:ext cx="3164598" cy="3647152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Using bullets with the indent button:</a:t>
            </a:r>
          </a:p>
          <a:p>
            <a:r>
              <a:rPr lang="en-US" sz="1925">
                <a:latin typeface="Sanofi Sans" panose="02010503030201020103" pitchFamily="2" charset="77"/>
              </a:rPr>
              <a:t>Use the indent button to create the text levels with the appropriate bullet in miracle purple.</a:t>
            </a: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94780BF-50D9-65EB-4A75-7A66361F2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047089" y="4659763"/>
            <a:ext cx="1134031" cy="1364931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64C487A-2A9F-28DF-404A-8EFD1275930B}"/>
              </a:ext>
            </a:extLst>
          </p:cNvPr>
          <p:cNvCxnSpPr>
            <a:cxnSpLocks/>
          </p:cNvCxnSpPr>
          <p:nvPr userDrawn="1"/>
        </p:nvCxnSpPr>
        <p:spPr>
          <a:xfrm flipH="1">
            <a:off x="16264029" y="1426364"/>
            <a:ext cx="107044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F29DF91-049D-4FF2-90D8-A2C87B795C9F}"/>
              </a:ext>
            </a:extLst>
          </p:cNvPr>
          <p:cNvSpPr txBox="1"/>
          <p:nvPr userDrawn="1"/>
        </p:nvSpPr>
        <p:spPr>
          <a:xfrm>
            <a:off x="17515178" y="1224251"/>
            <a:ext cx="3164598" cy="4832092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add an imag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the icon inside the image placehold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Select the image you want to use from your comput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“Open”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Adjust or crop the image if necessary by using the button “Crop” in the top ribbon.</a:t>
            </a:r>
          </a:p>
          <a:p>
            <a:pPr marL="299998" indent="-299998">
              <a:buFontTx/>
              <a:buChar char="-"/>
            </a:pPr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D7843C4-A099-85B8-E1F9-B9852AE712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939098" y="5569302"/>
            <a:ext cx="658142" cy="1316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8995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wo columns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A80DD-522E-15F3-7C7C-1ED7FE2F9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EB4E48BE-B935-323D-EA39-C821EE1437F8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591270" y="1874477"/>
            <a:ext cx="15020485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>
              <a:spcBef>
                <a:spcPts val="698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F7EDA8B-6FF9-744E-91CD-1538C781023E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587829" y="2360990"/>
            <a:ext cx="7290197" cy="55997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2D027E88-95FA-9A56-29EC-9196E6F94EA6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8321558" y="2360246"/>
            <a:ext cx="7290197" cy="55997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1C7E68E-FF0E-A7A3-8149-C3A03C12C86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 userDrawn="1"/>
        </p:nvCxnSpPr>
        <p:spPr>
          <a:xfrm>
            <a:off x="-931525" y="2545934"/>
            <a:ext cx="8840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E4427DB-117C-0F68-78BD-3435E3AD20DF}"/>
              </a:ext>
            </a:extLst>
          </p:cNvPr>
          <p:cNvSpPr txBox="1"/>
          <p:nvPr userDrawn="1"/>
        </p:nvSpPr>
        <p:spPr>
          <a:xfrm>
            <a:off x="-4263094" y="2345797"/>
            <a:ext cx="3164598" cy="3647152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Using bullets with the indent button:</a:t>
            </a:r>
          </a:p>
          <a:p>
            <a:r>
              <a:rPr lang="en-US" sz="1925">
                <a:latin typeface="Sanofi Sans" panose="02010503030201020103" pitchFamily="2" charset="77"/>
              </a:rPr>
              <a:t>Use the indent button to create the text levels with the appropriate bullet in miracle purple.</a:t>
            </a: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</p:txBody>
      </p:sp>
      <p:pic>
        <p:nvPicPr>
          <p:cNvPr id="13" name="Picture 13">
            <a:extLst>
              <a:ext uri="{FF2B5EF4-FFF2-40B4-BE49-F238E27FC236}">
                <a16:creationId xmlns:a16="http://schemas.microsoft.com/office/drawing/2014/main" id="{D86C84E7-B573-5C31-8D93-B1E50E026CB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047089" y="4659763"/>
            <a:ext cx="1134031" cy="1364931"/>
          </a:xfrm>
          <a:prstGeom prst="rect">
            <a:avLst/>
          </a:prstGeom>
        </p:spPr>
      </p:pic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40DB84D-8489-0AC0-2629-B21104954DC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8D04389-FFAB-E750-9515-20B585BA073B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fld id="{0BA501FD-2FAF-45B3-BE64-C36C9F1F0D9E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6014C3-F39F-A66A-38F8-AC73717AC38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290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0"/>
            <a:ext cx="4955803" cy="8999538"/>
          </a:xfrm>
          <a:prstGeom prst="rect">
            <a:avLst/>
          </a:prstGeom>
          <a:solidFill>
            <a:srgbClr val="E9E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50" noProof="0">
              <a:latin typeface="Sanofi Sans" panose="02010503030201020103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4FADB-EEC5-45D2-AA5E-7A0D798F1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89" y="505889"/>
            <a:ext cx="3752562" cy="125977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47966520-9FD5-42B3-AD18-E492CBBE356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91268" y="1874477"/>
            <a:ext cx="3750338" cy="37702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50" b="0" i="1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0" indent="0">
              <a:spcBef>
                <a:spcPts val="698"/>
              </a:spcBef>
              <a:buFont typeface="Arial" panose="020B0604020202020204" pitchFamily="34" charset="0"/>
              <a:buNone/>
              <a:defRPr sz="2100"/>
            </a:lvl2pPr>
            <a:lvl3pPr>
              <a:lnSpc>
                <a:spcPct val="110000"/>
              </a:lnSpc>
              <a:defRPr lang="en-US" sz="175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endParaRPr lang="fr-FR" noProof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E0BC0F4-D286-4029-9886-E5C53C4FB5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7365" y="2308377"/>
            <a:ext cx="3750338" cy="561253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1" name="Espace réservé du texte 4">
            <a:extLst>
              <a:ext uri="{FF2B5EF4-FFF2-40B4-BE49-F238E27FC236}">
                <a16:creationId xmlns:a16="http://schemas.microsoft.com/office/drawing/2014/main" id="{8D48725B-4307-4BEA-B9C9-15E0592A3B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59522" y="505892"/>
            <a:ext cx="1565369" cy="3633778"/>
          </a:xfrm>
        </p:spPr>
        <p:txBody>
          <a:bodyPr anchor="t">
            <a:noAutofit/>
          </a:bodyPr>
          <a:lstStyle>
            <a:lvl1pPr algn="r">
              <a:lnSpc>
                <a:spcPct val="110000"/>
              </a:lnSpc>
              <a:defRPr sz="2450" cap="all" baseline="0">
                <a:solidFill>
                  <a:schemeClr val="tx1"/>
                </a:solidFill>
              </a:defRPr>
            </a:lvl1pPr>
            <a:lvl2pPr marL="299998" indent="-299998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xmlns="" r:embed="rId2"/>
                    </a:ext>
                  </a:extLst>
                </a:blip>
              </a:buBlip>
              <a:defRPr sz="1400"/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0456B57B-663C-438F-BBF6-1AB9B756FE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78159" y="549673"/>
            <a:ext cx="1833333" cy="698498"/>
          </a:xfrm>
        </p:spPr>
        <p:txBody>
          <a:bodyPr/>
          <a:lstStyle>
            <a:lvl1pPr algn="l">
              <a:lnSpc>
                <a:spcPct val="110000"/>
              </a:lnSpc>
              <a:defRPr sz="4550" b="0" i="0" cap="all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299998" indent="-299998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xmlns="" r:embed="rId2"/>
                    </a:ext>
                  </a:extLst>
                </a:blip>
              </a:buBlip>
              <a:defRPr sz="1400"/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44" name="Espace réservé pour une image  15">
            <a:extLst>
              <a:ext uri="{FF2B5EF4-FFF2-40B4-BE49-F238E27FC236}">
                <a16:creationId xmlns:a16="http://schemas.microsoft.com/office/drawing/2014/main" id="{6EC29CFA-5793-4C6C-80E1-231B1EAA43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78159" y="1760172"/>
            <a:ext cx="1833333" cy="238727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7" name="Espace réservé du texte 4">
            <a:extLst>
              <a:ext uri="{FF2B5EF4-FFF2-40B4-BE49-F238E27FC236}">
                <a16:creationId xmlns:a16="http://schemas.microsoft.com/office/drawing/2014/main" id="{87E76F68-620B-4D77-BFEE-041D7315FC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78159" y="4401452"/>
            <a:ext cx="1833333" cy="862393"/>
          </a:xfrm>
        </p:spPr>
        <p:txBody>
          <a:bodyPr/>
          <a:lstStyle>
            <a:lvl1pPr algn="l">
              <a:lnSpc>
                <a:spcPct val="125000"/>
              </a:lnSpc>
              <a:defRPr sz="2450" i="1">
                <a:solidFill>
                  <a:schemeClr val="accent2"/>
                </a:solidFill>
                <a:latin typeface="Sanofi Serif" panose="02060503060201090102" pitchFamily="18" charset="77"/>
              </a:defRPr>
            </a:lvl1pPr>
            <a:lvl2pPr marL="0" indent="0">
              <a:lnSpc>
                <a:spcPts val="2100"/>
              </a:lnSpc>
              <a:spcAft>
                <a:spcPts val="698"/>
              </a:spcAft>
              <a:buFont typeface="Arial" panose="020B0604020202020204" pitchFamily="34" charset="0"/>
              <a:buNone/>
              <a:defRPr sz="1925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marL="0" marR="0" lvl="0" indent="0" algn="l" defTabSz="1199993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noProof="0" err="1"/>
              <a:t>SubTitle</a:t>
            </a:r>
            <a:r>
              <a:rPr lang="fr-FR" noProof="0"/>
              <a:t/>
            </a:r>
            <a:br>
              <a:rPr lang="fr-FR" noProof="0"/>
            </a:br>
            <a:r>
              <a:rPr lang="fr-FR" noProof="0"/>
              <a:t>Exemple</a:t>
            </a:r>
          </a:p>
        </p:txBody>
      </p:sp>
      <p:sp>
        <p:nvSpPr>
          <p:cNvPr id="54" name="Espace réservé du texte 4">
            <a:extLst>
              <a:ext uri="{FF2B5EF4-FFF2-40B4-BE49-F238E27FC236}">
                <a16:creationId xmlns:a16="http://schemas.microsoft.com/office/drawing/2014/main" id="{EB355F06-F117-4960-9CD2-3296D719777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78159" y="5510292"/>
            <a:ext cx="1833333" cy="2676985"/>
          </a:xfrm>
        </p:spPr>
        <p:txBody>
          <a:bodyPr/>
          <a:lstStyle>
            <a:lvl1pPr algn="l">
              <a:lnSpc>
                <a:spcPct val="125000"/>
              </a:lnSpc>
              <a:defRPr sz="2450">
                <a:solidFill>
                  <a:schemeClr val="tx1"/>
                </a:solidFill>
              </a:defRPr>
            </a:lvl1pPr>
            <a:lvl2pPr marL="0" indent="0">
              <a:lnSpc>
                <a:spcPts val="2100"/>
              </a:lnSpc>
              <a:spcAft>
                <a:spcPts val="698"/>
              </a:spcAft>
              <a:buFont typeface="Arial" panose="020B0604020202020204" pitchFamily="34" charset="0"/>
              <a:buNone/>
              <a:defRPr sz="122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49" name="Espace réservé du texte 4">
            <a:extLst>
              <a:ext uri="{FF2B5EF4-FFF2-40B4-BE49-F238E27FC236}">
                <a16:creationId xmlns:a16="http://schemas.microsoft.com/office/drawing/2014/main" id="{D7722D17-99A8-4564-81CF-20F1F7F8DB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83816" y="549673"/>
            <a:ext cx="1833332" cy="698498"/>
          </a:xfrm>
        </p:spPr>
        <p:txBody>
          <a:bodyPr/>
          <a:lstStyle>
            <a:lvl1pPr algn="l">
              <a:lnSpc>
                <a:spcPct val="110000"/>
              </a:lnSpc>
              <a:defRPr sz="4550" b="0" i="0" cap="all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299998" indent="-299998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xmlns="" r:embed="rId2"/>
                    </a:ext>
                  </a:extLst>
                </a:blip>
              </a:buBlip>
              <a:defRPr sz="1400"/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48" name="Espace réservé pour une image  15">
            <a:extLst>
              <a:ext uri="{FF2B5EF4-FFF2-40B4-BE49-F238E27FC236}">
                <a16:creationId xmlns:a16="http://schemas.microsoft.com/office/drawing/2014/main" id="{59EC3F46-5FB4-498B-9543-7330D6DD492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383816" y="1760172"/>
            <a:ext cx="1833333" cy="238727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55" name="Espace réservé du texte 4">
            <a:extLst>
              <a:ext uri="{FF2B5EF4-FFF2-40B4-BE49-F238E27FC236}">
                <a16:creationId xmlns:a16="http://schemas.microsoft.com/office/drawing/2014/main" id="{D86CBB7A-9502-4B85-850C-DF2587D4D6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3816" y="4391346"/>
            <a:ext cx="1833333" cy="875054"/>
          </a:xfrm>
        </p:spPr>
        <p:txBody>
          <a:bodyPr/>
          <a:lstStyle>
            <a:lvl1pPr algn="l">
              <a:lnSpc>
                <a:spcPct val="125000"/>
              </a:lnSpc>
              <a:defRPr sz="2450" i="1">
                <a:solidFill>
                  <a:schemeClr val="accent2"/>
                </a:solidFill>
                <a:latin typeface="Sanofi Serif" panose="02060503060201090102" pitchFamily="18" charset="77"/>
              </a:defRPr>
            </a:lvl1pPr>
            <a:lvl2pPr marL="0" indent="0">
              <a:lnSpc>
                <a:spcPts val="2100"/>
              </a:lnSpc>
              <a:spcAft>
                <a:spcPts val="698"/>
              </a:spcAft>
              <a:buFont typeface="Arial" panose="020B0604020202020204" pitchFamily="34" charset="0"/>
              <a:buNone/>
              <a:defRPr sz="1925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r>
              <a:rPr lang="fr-FR" noProof="0"/>
              <a:t/>
            </a:r>
            <a:br>
              <a:rPr lang="fr-FR" noProof="0"/>
            </a:br>
            <a:r>
              <a:rPr lang="fr-FR" noProof="0"/>
              <a:t>Exemple</a:t>
            </a:r>
          </a:p>
        </p:txBody>
      </p:sp>
      <p:sp>
        <p:nvSpPr>
          <p:cNvPr id="56" name="Espace réservé du texte 4">
            <a:extLst>
              <a:ext uri="{FF2B5EF4-FFF2-40B4-BE49-F238E27FC236}">
                <a16:creationId xmlns:a16="http://schemas.microsoft.com/office/drawing/2014/main" id="{86544E69-3546-4BEE-9749-1A8EFA7DDE3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83816" y="5510292"/>
            <a:ext cx="1833333" cy="2676985"/>
          </a:xfrm>
        </p:spPr>
        <p:txBody>
          <a:bodyPr/>
          <a:lstStyle>
            <a:lvl1pPr algn="l">
              <a:lnSpc>
                <a:spcPct val="125000"/>
              </a:lnSpc>
              <a:defRPr sz="2450">
                <a:solidFill>
                  <a:schemeClr val="tx1"/>
                </a:solidFill>
              </a:defRPr>
            </a:lvl1pPr>
            <a:lvl2pPr marL="0" indent="0">
              <a:lnSpc>
                <a:spcPts val="2100"/>
              </a:lnSpc>
              <a:spcAft>
                <a:spcPts val="698"/>
              </a:spcAft>
              <a:buFont typeface="Arial" panose="020B0604020202020204" pitchFamily="34" charset="0"/>
              <a:buNone/>
              <a:defRPr sz="122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51" name="Espace réservé du texte 4">
            <a:extLst>
              <a:ext uri="{FF2B5EF4-FFF2-40B4-BE49-F238E27FC236}">
                <a16:creationId xmlns:a16="http://schemas.microsoft.com/office/drawing/2014/main" id="{B0DC2D27-DE73-4D51-B4A4-D9CC4DC5A4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589471" y="549673"/>
            <a:ext cx="1833330" cy="698498"/>
          </a:xfrm>
        </p:spPr>
        <p:txBody>
          <a:bodyPr/>
          <a:lstStyle>
            <a:lvl1pPr algn="l">
              <a:lnSpc>
                <a:spcPct val="110000"/>
              </a:lnSpc>
              <a:defRPr sz="4550" b="0" i="0" cap="all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299998" indent="-299998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xmlns="" r:embed="rId2"/>
                    </a:ext>
                  </a:extLst>
                </a:blip>
              </a:buBlip>
              <a:defRPr sz="1400"/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50" name="Espace réservé pour une image  15">
            <a:extLst>
              <a:ext uri="{FF2B5EF4-FFF2-40B4-BE49-F238E27FC236}">
                <a16:creationId xmlns:a16="http://schemas.microsoft.com/office/drawing/2014/main" id="{B20B9505-236E-4469-A51C-A2C7B71B271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1589473" y="1760172"/>
            <a:ext cx="1833333" cy="238727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75A5190F-9F87-4BAA-9B38-DA41741440E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589468" y="4391346"/>
            <a:ext cx="1833333" cy="875054"/>
          </a:xfrm>
        </p:spPr>
        <p:txBody>
          <a:bodyPr/>
          <a:lstStyle>
            <a:lvl1pPr algn="l">
              <a:lnSpc>
                <a:spcPct val="125000"/>
              </a:lnSpc>
              <a:defRPr sz="2450" i="1">
                <a:solidFill>
                  <a:schemeClr val="accent2"/>
                </a:solidFill>
                <a:latin typeface="Sanofi Serif" panose="02060503060201090102" pitchFamily="18" charset="77"/>
              </a:defRPr>
            </a:lvl1pPr>
            <a:lvl2pPr marL="0" indent="0">
              <a:lnSpc>
                <a:spcPts val="2100"/>
              </a:lnSpc>
              <a:spcAft>
                <a:spcPts val="698"/>
              </a:spcAft>
              <a:buFont typeface="Arial" panose="020B0604020202020204" pitchFamily="34" charset="0"/>
              <a:buNone/>
              <a:defRPr sz="1925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r>
              <a:rPr lang="fr-FR" noProof="0"/>
              <a:t/>
            </a:r>
            <a:br>
              <a:rPr lang="fr-FR" noProof="0"/>
            </a:br>
            <a:r>
              <a:rPr lang="fr-FR" noProof="0"/>
              <a:t>Exemple</a:t>
            </a:r>
          </a:p>
        </p:txBody>
      </p:sp>
      <p:sp>
        <p:nvSpPr>
          <p:cNvPr id="58" name="Espace réservé du texte 4">
            <a:extLst>
              <a:ext uri="{FF2B5EF4-FFF2-40B4-BE49-F238E27FC236}">
                <a16:creationId xmlns:a16="http://schemas.microsoft.com/office/drawing/2014/main" id="{FF1BBCD1-8544-421A-85E5-77CA0FA35FE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589468" y="5510292"/>
            <a:ext cx="1833333" cy="2676985"/>
          </a:xfrm>
        </p:spPr>
        <p:txBody>
          <a:bodyPr/>
          <a:lstStyle>
            <a:lvl1pPr algn="l">
              <a:lnSpc>
                <a:spcPct val="125000"/>
              </a:lnSpc>
              <a:defRPr sz="2450">
                <a:solidFill>
                  <a:schemeClr val="tx1"/>
                </a:solidFill>
              </a:defRPr>
            </a:lvl1pPr>
            <a:lvl2pPr marL="0" indent="0">
              <a:lnSpc>
                <a:spcPts val="2100"/>
              </a:lnSpc>
              <a:spcAft>
                <a:spcPts val="698"/>
              </a:spcAft>
              <a:buFont typeface="Arial" panose="020B0604020202020204" pitchFamily="34" charset="0"/>
              <a:buNone/>
              <a:defRPr sz="122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53" name="Espace réservé du texte 4">
            <a:extLst>
              <a:ext uri="{FF2B5EF4-FFF2-40B4-BE49-F238E27FC236}">
                <a16:creationId xmlns:a16="http://schemas.microsoft.com/office/drawing/2014/main" id="{6F5500B0-3264-4A96-BDF7-6321D671A8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795128" y="549673"/>
            <a:ext cx="1833330" cy="698498"/>
          </a:xfrm>
        </p:spPr>
        <p:txBody>
          <a:bodyPr/>
          <a:lstStyle>
            <a:lvl1pPr algn="l">
              <a:lnSpc>
                <a:spcPct val="110000"/>
              </a:lnSpc>
              <a:defRPr sz="4550" b="0" i="0" cap="all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299998" indent="-299998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xmlns="" r:embed="rId2"/>
                    </a:ext>
                  </a:extLst>
                </a:blip>
              </a:buBlip>
              <a:defRPr sz="1400"/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52" name="Espace réservé pour une image  15">
            <a:extLst>
              <a:ext uri="{FF2B5EF4-FFF2-40B4-BE49-F238E27FC236}">
                <a16:creationId xmlns:a16="http://schemas.microsoft.com/office/drawing/2014/main" id="{C7AF1FA3-8607-484E-960C-0DEC87C8B4B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3795130" y="1760172"/>
            <a:ext cx="1833333" cy="238727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59" name="Espace réservé du texte 4">
            <a:extLst>
              <a:ext uri="{FF2B5EF4-FFF2-40B4-BE49-F238E27FC236}">
                <a16:creationId xmlns:a16="http://schemas.microsoft.com/office/drawing/2014/main" id="{BF822235-CF36-42FB-998B-784756CA5FE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3795119" y="4391346"/>
            <a:ext cx="1833333" cy="875054"/>
          </a:xfrm>
        </p:spPr>
        <p:txBody>
          <a:bodyPr/>
          <a:lstStyle>
            <a:lvl1pPr algn="l">
              <a:lnSpc>
                <a:spcPct val="125000"/>
              </a:lnSpc>
              <a:defRPr sz="2450" i="1">
                <a:solidFill>
                  <a:schemeClr val="accent2"/>
                </a:solidFill>
                <a:latin typeface="Sanofi Serif" panose="02060503060201090102" pitchFamily="18" charset="77"/>
              </a:defRPr>
            </a:lvl1pPr>
            <a:lvl2pPr marL="0" indent="0">
              <a:lnSpc>
                <a:spcPts val="2100"/>
              </a:lnSpc>
              <a:spcAft>
                <a:spcPts val="698"/>
              </a:spcAft>
              <a:buFont typeface="Arial" panose="020B0604020202020204" pitchFamily="34" charset="0"/>
              <a:buNone/>
              <a:defRPr sz="1925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 err="1"/>
              <a:t>SubTitle</a:t>
            </a:r>
            <a:r>
              <a:rPr lang="fr-FR" noProof="0"/>
              <a:t/>
            </a:r>
            <a:br>
              <a:rPr lang="fr-FR" noProof="0"/>
            </a:br>
            <a:r>
              <a:rPr lang="fr-FR" noProof="0"/>
              <a:t>Exemple</a:t>
            </a:r>
          </a:p>
        </p:txBody>
      </p:sp>
      <p:sp>
        <p:nvSpPr>
          <p:cNvPr id="60" name="Espace réservé du texte 4">
            <a:extLst>
              <a:ext uri="{FF2B5EF4-FFF2-40B4-BE49-F238E27FC236}">
                <a16:creationId xmlns:a16="http://schemas.microsoft.com/office/drawing/2014/main" id="{80EE59DB-9243-4843-902C-CEAFDD74F3B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3795119" y="5510292"/>
            <a:ext cx="1833333" cy="2676985"/>
          </a:xfrm>
        </p:spPr>
        <p:txBody>
          <a:bodyPr/>
          <a:lstStyle>
            <a:lvl1pPr algn="l">
              <a:lnSpc>
                <a:spcPct val="125000"/>
              </a:lnSpc>
              <a:defRPr sz="2450">
                <a:solidFill>
                  <a:schemeClr val="tx1"/>
                </a:solidFill>
              </a:defRPr>
            </a:lvl1pPr>
            <a:lvl2pPr marL="0" indent="0">
              <a:lnSpc>
                <a:spcPts val="2100"/>
              </a:lnSpc>
              <a:spcAft>
                <a:spcPts val="698"/>
              </a:spcAft>
              <a:buFont typeface="Arial" panose="020B0604020202020204" pitchFamily="34" charset="0"/>
              <a:buNone/>
              <a:defRPr sz="122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400">
                <a:latin typeface="+mj-lt"/>
              </a:defRPr>
            </a:lvl3pPr>
            <a:lvl4pPr>
              <a:defRPr sz="1750"/>
            </a:lvl4pPr>
            <a:lvl5pPr>
              <a:defRPr sz="175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F01E109-00D8-987B-D358-F3FD933FFF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735" y="8042178"/>
            <a:ext cx="2050216" cy="933831"/>
          </a:xfrm>
          <a:prstGeom prst="rect">
            <a:avLst/>
          </a:prstGeom>
          <a:ln>
            <a:noFill/>
          </a:ln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61507-8AFD-9705-9965-6874EEDD889A}"/>
              </a:ext>
            </a:extLst>
          </p:cNvPr>
          <p:cNvSpPr>
            <a:spLocks noGrp="1"/>
          </p:cNvSpPr>
          <p:nvPr>
            <p:ph type="ftr" sz="quarter" idx="5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20235B-FA42-4BE7-947B-F821D4289B09}"/>
              </a:ext>
            </a:extLst>
          </p:cNvPr>
          <p:cNvSpPr>
            <a:spLocks noGrp="1"/>
          </p:cNvSpPr>
          <p:nvPr>
            <p:ph type="dt" sz="half" idx="52"/>
          </p:nvPr>
        </p:nvSpPr>
        <p:spPr/>
        <p:txBody>
          <a:bodyPr/>
          <a:lstStyle>
            <a:lvl1pPr>
              <a:defRPr/>
            </a:lvl1pPr>
          </a:lstStyle>
          <a:p>
            <a:fld id="{2697922A-7781-4072-BF7A-4E6A16A869CF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CB29E3-354E-DD45-6FF1-140AEE56BA96}"/>
              </a:ext>
            </a:extLst>
          </p:cNvPr>
          <p:cNvSpPr>
            <a:spLocks noGrp="1"/>
          </p:cNvSpPr>
          <p:nvPr>
            <p:ph type="sldNum" sz="quarter" idx="54"/>
          </p:nvPr>
        </p:nvSpPr>
        <p:spPr/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436507A5-A617-E8BB-8418-45722C6AC6C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6318030" y="2404148"/>
            <a:ext cx="107044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FD41FC3-BA7D-BF96-5991-714A684CD082}"/>
              </a:ext>
            </a:extLst>
          </p:cNvPr>
          <p:cNvSpPr txBox="1"/>
          <p:nvPr userDrawn="1"/>
        </p:nvSpPr>
        <p:spPr>
          <a:xfrm>
            <a:off x="17549046" y="2127933"/>
            <a:ext cx="3164598" cy="7794441"/>
          </a:xfrm>
          <a:prstGeom prst="rect">
            <a:avLst/>
          </a:prstGeom>
          <a:solidFill>
            <a:srgbClr val="F4F2F6"/>
          </a:solidFill>
        </p:spPr>
        <p:txBody>
          <a:bodyPr wrap="square" rtlCol="0">
            <a:spAutoFit/>
          </a:bodyPr>
          <a:lstStyle/>
          <a:p>
            <a:r>
              <a:rPr lang="en-US" sz="1925" b="1">
                <a:latin typeface="Sanofi Sans" panose="02010503030201020103" pitchFamily="2" charset="77"/>
              </a:rPr>
              <a:t>How to add an imag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on the icon inside the image placehold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Select the image you want to use from your computer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Click “Open”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Adjust or crop the image if necessary by using the button “Crop” in the top ribbon.</a:t>
            </a:r>
          </a:p>
          <a:p>
            <a:pPr marL="299998" indent="-299998">
              <a:buFontTx/>
              <a:buChar char="-"/>
            </a:pPr>
            <a:endParaRPr lang="en-US" sz="1925">
              <a:latin typeface="Sanofi Sans" panose="02010503030201020103" pitchFamily="2" charset="77"/>
            </a:endParaRPr>
          </a:p>
          <a:p>
            <a:pPr marL="0" indent="0">
              <a:buFontTx/>
              <a:buNone/>
            </a:pPr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endParaRPr lang="en-US" sz="1925">
              <a:latin typeface="Sanofi Sans" panose="02010503030201020103" pitchFamily="2" charset="77"/>
            </a:endParaRPr>
          </a:p>
          <a:p>
            <a:r>
              <a:rPr lang="en-US" sz="1925" b="1">
                <a:latin typeface="Sanofi Sans" panose="02010503030201020103" pitchFamily="2" charset="77"/>
              </a:rPr>
              <a:t>Add Alt Text or mark as decorative: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Right click on the image and select “View Alt Text”.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Type in the blank field that appears on the right of the slide</a:t>
            </a:r>
          </a:p>
          <a:p>
            <a:pPr marL="299998" indent="-299998">
              <a:buFontTx/>
              <a:buChar char="-"/>
            </a:pPr>
            <a:r>
              <a:rPr lang="en-US" sz="1925">
                <a:latin typeface="Sanofi Sans" panose="02010503030201020103" pitchFamily="2" charset="77"/>
              </a:rPr>
              <a:t>If Alt Text isn’t relevant, tick the box to “Mark element as decorative”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181C3A-9B11-6A31-2224-853186A95DF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8022893" y="6435602"/>
            <a:ext cx="544066" cy="1088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9006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78E04-C85A-4D77-B8FB-BFFBFEFE7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4" name="Table Placeholder 3">
            <a:extLst>
              <a:ext uri="{FF2B5EF4-FFF2-40B4-BE49-F238E27FC236}">
                <a16:creationId xmlns:a16="http://schemas.microsoft.com/office/drawing/2014/main" id="{828EDE46-3F40-4CF0-8732-22A2312E12B6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586501" y="1718892"/>
            <a:ext cx="15020485" cy="60839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4BAF85-C7EF-E0BC-E504-BBA29ED5592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590B02-5AEE-07D5-3809-402035D462A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/>
            </a:lvl1pPr>
          </a:lstStyle>
          <a:p>
            <a:fld id="{0E587A10-8E69-40BC-BAAC-7F790FA89BB0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CEDEE1-A1D7-06C7-B208-C606F9D8308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429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621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7004D7A-10C4-34CE-F72C-6A6BBC59E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AB30001-6B64-1145-701E-2C8C893BC8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991CA3D-AA7B-5C60-7E4D-2B019FAB5ED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82977F9D-6034-43ED-9740-BFE4F3BC9480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7BC42FB-27D4-71F0-7550-E0207D2F2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6180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95026D94-B8BF-C3D0-23F7-1AA4DA0C7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5">
            <a:extLst>
              <a:ext uri="{FF2B5EF4-FFF2-40B4-BE49-F238E27FC236}">
                <a16:creationId xmlns:a16="http://schemas.microsoft.com/office/drawing/2014/main" id="{237A4FEF-25F8-EB2B-BBCB-9C32E4352C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>
            <a:lvl1pPr>
              <a:defRPr/>
            </a:lvl1pPr>
          </a:lstStyle>
          <a:p>
            <a:fld id="{F2A8969A-EA3B-4484-906E-5A24E1296767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0A15F7BA-3C85-B4B9-AEF9-6D650D325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0369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25056" y="3915858"/>
            <a:ext cx="12150329" cy="1167825"/>
          </a:xfrm>
        </p:spPr>
        <p:txBody>
          <a:bodyPr anchor="ctr">
            <a:normAutofit/>
          </a:bodyPr>
          <a:lstStyle>
            <a:lvl1pPr algn="ctr">
              <a:defRPr sz="6998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7987866" y="5704348"/>
            <a:ext cx="224713" cy="22035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7987866" y="3099928"/>
            <a:ext cx="224713" cy="22035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88081" y="7891839"/>
            <a:ext cx="1424253" cy="3609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solidFill>
                  <a:schemeClr val="accent2"/>
                </a:solidFill>
                <a:latin typeface="Sanofi Sans" panose="02010503030201020103" pitchFamily="2" charset="0"/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3150">
                <a:latin typeface="Sanofi Sans" panose="02010503030201020103" pitchFamily="2" charset="0"/>
              </a:endParaRPr>
            </a:p>
          </p:txBody>
        </p:sp>
      </p:grp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57FFDF46-CBC3-A126-CACC-012AF3049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Date Placeholder 5">
            <a:extLst>
              <a:ext uri="{FF2B5EF4-FFF2-40B4-BE49-F238E27FC236}">
                <a16:creationId xmlns:a16="http://schemas.microsoft.com/office/drawing/2014/main" id="{0AB557D0-8EDF-AB92-9A3A-BCF0BE5DC6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>
            <a:lvl1pPr>
              <a:defRPr/>
            </a:lvl1pPr>
          </a:lstStyle>
          <a:p>
            <a:fld id="{9496DA8E-66D7-4B11-B7FE-6B83C9E6312F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B9A28CB3-016A-B492-A0B3-485F2AFAB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>
            <a:lvl1pPr>
              <a:defRPr/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471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6B40EEC9-55BA-32A9-B98C-BF150C185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0910" y="2205084"/>
            <a:ext cx="6371237" cy="4589375"/>
          </a:xfrm>
        </p:spPr>
        <p:txBody>
          <a:bodyPr/>
          <a:lstStyle>
            <a:lvl1pPr>
              <a:lnSpc>
                <a:spcPct val="80000"/>
              </a:lnSpc>
              <a:defRPr sz="11549" b="0">
                <a:solidFill>
                  <a:schemeClr val="bg1"/>
                </a:solidFill>
                <a:latin typeface="Sanofi Sans" panose="02010503030201020103" pitchFamily="2" charset="77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you</a:t>
            </a:r>
            <a:endParaRPr lang="en-GB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3998C44D-F23A-A14D-CF75-A93317E0CE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8260708" y="1389478"/>
            <a:ext cx="5779676" cy="6464473"/>
          </a:xfrm>
          <a:prstGeom prst="rect">
            <a:avLst/>
          </a:prstGeom>
        </p:spPr>
      </p:pic>
      <p:pic>
        <p:nvPicPr>
          <p:cNvPr id="2" name="Graphique 1">
            <a:extLst>
              <a:ext uri="{FF2B5EF4-FFF2-40B4-BE49-F238E27FC236}">
                <a16:creationId xmlns:a16="http://schemas.microsoft.com/office/drawing/2014/main" id="{A0CEDB32-51DA-66E2-331A-F4B02A32C6E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60912" y="7980414"/>
            <a:ext cx="1359159" cy="341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6181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6B40EEC9-55BA-32A9-B98C-BF150C185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0910" y="2205084"/>
            <a:ext cx="6371237" cy="4589375"/>
          </a:xfrm>
        </p:spPr>
        <p:txBody>
          <a:bodyPr/>
          <a:lstStyle>
            <a:lvl1pPr>
              <a:lnSpc>
                <a:spcPct val="80000"/>
              </a:lnSpc>
              <a:defRPr sz="11549" b="0">
                <a:latin typeface="Sanofi Sans" panose="02010503030201020103" pitchFamily="2" charset="77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you</a:t>
            </a:r>
            <a:endParaRPr lang="en-GB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3998C44D-F23A-A14D-CF75-A93317E0CE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8260708" y="1389478"/>
            <a:ext cx="5779676" cy="6464473"/>
          </a:xfrm>
          <a:prstGeom prst="rect">
            <a:avLst/>
          </a:prstGeom>
        </p:spPr>
      </p:pic>
      <p:pic>
        <p:nvPicPr>
          <p:cNvPr id="15" name="Graphique 14">
            <a:extLst>
              <a:ext uri="{FF2B5EF4-FFF2-40B4-BE49-F238E27FC236}">
                <a16:creationId xmlns:a16="http://schemas.microsoft.com/office/drawing/2014/main" id="{1A619FD0-FBEB-99C3-8291-C945FD6BDFF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60912" y="7980414"/>
            <a:ext cx="1359159" cy="341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6441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6B40EEC9-55BA-32A9-B98C-BF150C185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0910" y="2205084"/>
            <a:ext cx="6371237" cy="4589375"/>
          </a:xfrm>
        </p:spPr>
        <p:txBody>
          <a:bodyPr/>
          <a:lstStyle>
            <a:lvl1pPr>
              <a:lnSpc>
                <a:spcPct val="80000"/>
              </a:lnSpc>
              <a:defRPr sz="11549" b="0">
                <a:solidFill>
                  <a:schemeClr val="bg1"/>
                </a:solidFill>
                <a:latin typeface="Sanofi Sans" panose="02010503030201020103" pitchFamily="2" charset="77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you</a:t>
            </a:r>
            <a:endParaRPr lang="en-GB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1A619FD0-FBEB-99C3-8291-C945FD6BDFF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1160912" y="7980414"/>
            <a:ext cx="1359159" cy="341734"/>
          </a:xfrm>
          <a:prstGeom prst="rect">
            <a:avLst/>
          </a:prstGeom>
        </p:spPr>
      </p:pic>
      <p:pic>
        <p:nvPicPr>
          <p:cNvPr id="2" name="Graphique 1">
            <a:extLst>
              <a:ext uri="{FF2B5EF4-FFF2-40B4-BE49-F238E27FC236}">
                <a16:creationId xmlns:a16="http://schemas.microsoft.com/office/drawing/2014/main" id="{4AA6D030-A355-1267-78EF-03703F1B67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34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95026D94-B8BF-C3D0-23F7-1AA4DA0C7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Date Placeholder 5">
            <a:extLst>
              <a:ext uri="{FF2B5EF4-FFF2-40B4-BE49-F238E27FC236}">
                <a16:creationId xmlns:a16="http://schemas.microsoft.com/office/drawing/2014/main" id="{237A4FEF-25F8-EB2B-BBCB-9C32E4352C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/>
          <a:p>
            <a:fld id="{E03DF6FD-3F39-2043-B7EA-BFF43711A2B8}" type="datetimeFigureOut">
              <a:rPr lang="en-US" smtClean="0"/>
              <a:t>5/22/2026</a:t>
            </a:fld>
            <a:endParaRPr lang="en-US" dirty="0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0A15F7BA-3C85-B4B9-AEF9-6D650D325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/>
          <a:p>
            <a:fld id="{3BBED5F5-3DDA-A343-B801-1693B3A69C50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5" name="Image 4" descr="Une image contenant Lilas, violette, Magenta, bleu&#10;&#10;Le contenu généré par l’IA peut être incorrect.">
            <a:extLst>
              <a:ext uri="{FF2B5EF4-FFF2-40B4-BE49-F238E27FC236}">
                <a16:creationId xmlns:a16="http://schemas.microsoft.com/office/drawing/2014/main" id="{692D1287-A1F9-E8CF-F23E-BDB2C15EEF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460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6B40EEC9-55BA-32A9-B98C-BF150C185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0910" y="2205084"/>
            <a:ext cx="6371237" cy="4589375"/>
          </a:xfrm>
        </p:spPr>
        <p:txBody>
          <a:bodyPr/>
          <a:lstStyle>
            <a:lvl1pPr>
              <a:lnSpc>
                <a:spcPct val="80000"/>
              </a:lnSpc>
              <a:defRPr sz="11549" b="0">
                <a:latin typeface="Sanofi Sans" panose="02010503030201020103" pitchFamily="2" charset="77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you</a:t>
            </a:r>
            <a:endParaRPr lang="en-GB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1A619FD0-FBEB-99C3-8291-C945FD6BDFF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1160912" y="7980414"/>
            <a:ext cx="1359159" cy="341734"/>
          </a:xfrm>
          <a:prstGeom prst="rect">
            <a:avLst/>
          </a:prstGeom>
        </p:spPr>
      </p:pic>
      <p:pic>
        <p:nvPicPr>
          <p:cNvPr id="2" name="Graphique 1">
            <a:extLst>
              <a:ext uri="{FF2B5EF4-FFF2-40B4-BE49-F238E27FC236}">
                <a16:creationId xmlns:a16="http://schemas.microsoft.com/office/drawing/2014/main" id="{4AA6D030-A355-1267-78EF-03703F1B67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1041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628081E0-C02D-B72F-9EE9-9E138AA6F83F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5689592" y="1635115"/>
            <a:ext cx="4821251" cy="5392491"/>
          </a:xfrm>
          <a:prstGeom prst="rect">
            <a:avLst/>
          </a:prstGeom>
        </p:spPr>
      </p:pic>
      <p:pic>
        <p:nvPicPr>
          <p:cNvPr id="8" name="Graphique 7">
            <a:extLst>
              <a:ext uri="{FF2B5EF4-FFF2-40B4-BE49-F238E27FC236}">
                <a16:creationId xmlns:a16="http://schemas.microsoft.com/office/drawing/2014/main" id="{7B7C9592-08B1-2A89-B95C-CD855437CA4F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279810" y="7864208"/>
            <a:ext cx="1629366" cy="409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5989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628081E0-C02D-B72F-9EE9-9E138AA6F83F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5689592" y="1635115"/>
            <a:ext cx="4821251" cy="5392491"/>
          </a:xfrm>
          <a:prstGeom prst="rect">
            <a:avLst/>
          </a:prstGeom>
        </p:spPr>
      </p:pic>
      <p:pic>
        <p:nvPicPr>
          <p:cNvPr id="8" name="Graphique 7">
            <a:extLst>
              <a:ext uri="{FF2B5EF4-FFF2-40B4-BE49-F238E27FC236}">
                <a16:creationId xmlns:a16="http://schemas.microsoft.com/office/drawing/2014/main" id="{7B7C9592-08B1-2A89-B95C-CD855437CA4F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279810" y="7864208"/>
            <a:ext cx="1629366" cy="409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4042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Title with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7D70884-FCB7-843C-8CB2-FF64F1E31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5897622"/>
              </p:ext>
            </p:extLst>
          </p:nvPr>
        </p:nvGraphicFramePr>
        <p:xfrm>
          <a:off x="2816" y="2780"/>
          <a:ext cx="2813" cy="2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D70884-FCB7-843C-8CB2-FF64F1E31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16" y="2780"/>
                        <a:ext cx="2813" cy="27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479659" y="7934117"/>
            <a:ext cx="3645099" cy="480530"/>
          </a:xfrm>
          <a:prstGeom prst="rect">
            <a:avLst/>
          </a:prstGeom>
        </p:spPr>
        <p:txBody>
          <a:bodyPr/>
          <a:lstStyle>
            <a:lvl1pPr rtl="0">
              <a:defRPr sz="21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48343" y="677458"/>
            <a:ext cx="1507736" cy="38334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en-US" sz="3150" noProof="0">
                <a:latin typeface="Sanofi Sans" panose="02010503030201020103" pitchFamily="2" charset="0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en-US" sz="3150" noProof="0">
                <a:solidFill>
                  <a:schemeClr val="accent2"/>
                </a:solidFill>
                <a:latin typeface="Sanofi Sans" panose="02010503030201020103" pitchFamily="2" charset="0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en-US" sz="3150" noProof="0">
                <a:latin typeface="Sanofi Sans" panose="02010503030201020103" pitchFamily="2" charset="0"/>
              </a:endParaRPr>
            </a:p>
          </p:txBody>
        </p:sp>
      </p:grp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" y="0"/>
            <a:ext cx="8470744" cy="8999538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rtl="0"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2211559" y="2314520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 rtl="0"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12211559" y="6784105"/>
            <a:ext cx="181302" cy="17777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 rtl="0"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3661" y="2527824"/>
            <a:ext cx="6577097" cy="2175936"/>
          </a:xfrm>
        </p:spPr>
        <p:txBody>
          <a:bodyPr anchor="b">
            <a:noAutofit/>
          </a:bodyPr>
          <a:lstStyle>
            <a:lvl1pPr algn="ctr" rtl="0">
              <a:lnSpc>
                <a:spcPct val="96000"/>
              </a:lnSpc>
              <a:spcAft>
                <a:spcPts val="1750"/>
              </a:spcAft>
              <a:defRPr lang="fr-FR" sz="5250" b="0" i="0" kern="1200" dirty="0" err="1" smtClean="0">
                <a:solidFill>
                  <a:schemeClr val="bg2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algn="ctr">
              <a:lnSpc>
                <a:spcPct val="100000"/>
              </a:lnSpc>
              <a:defRPr sz="35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3661" y="4931713"/>
            <a:ext cx="6577097" cy="705947"/>
          </a:xfrm>
        </p:spPr>
        <p:txBody>
          <a:bodyPr anchor="t">
            <a:noAutofit/>
          </a:bodyPr>
          <a:lstStyle>
            <a:lvl1pPr algn="ctr" rtl="0">
              <a:lnSpc>
                <a:spcPct val="96000"/>
              </a:lnSpc>
              <a:spcAft>
                <a:spcPts val="1750"/>
              </a:spcAft>
              <a:defRPr lang="en-US" sz="3500" b="0" i="1" kern="1200" dirty="0">
                <a:solidFill>
                  <a:schemeClr val="bg2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marL="487398" indent="0" algn="ctr">
              <a:lnSpc>
                <a:spcPct val="100000"/>
              </a:lnSpc>
              <a:buFont typeface="Arial" panose="020B0604020202020204" pitchFamily="34" charset="0"/>
              <a:buNone/>
              <a:defRPr sz="35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3661" y="5669655"/>
            <a:ext cx="6577097" cy="1011313"/>
          </a:xfrm>
        </p:spPr>
        <p:txBody>
          <a:bodyPr anchor="t">
            <a:noAutofit/>
          </a:bodyPr>
          <a:lstStyle>
            <a:lvl1pPr algn="ctr" rtl="0">
              <a:lnSpc>
                <a:spcPct val="96000"/>
              </a:lnSpc>
              <a:spcAft>
                <a:spcPts val="1750"/>
              </a:spcAft>
              <a:defRPr lang="en-US" sz="2100" b="0" i="0" kern="1200" dirty="0">
                <a:solidFill>
                  <a:schemeClr val="bg2"/>
                </a:solidFill>
                <a:latin typeface="Sanofi Sans" panose="02010503030201020103" pitchFamily="2" charset="0"/>
                <a:ea typeface="Verdana" panose="020B0604030504040204" pitchFamily="34" charset="0"/>
                <a:cs typeface="Sanofi Sans" panose="02010503030201020103" pitchFamily="2" charset="0"/>
              </a:defRPr>
            </a:lvl1pPr>
            <a:lvl2pPr algn="l">
              <a:lnSpc>
                <a:spcPct val="100000"/>
              </a:lnSpc>
              <a:defRPr lang="en-US" sz="21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75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536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95026D94-B8BF-C3D0-23F7-1AA4DA0C7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/>
          <a:p>
            <a:endParaRPr lang="fr-FR"/>
          </a:p>
        </p:txBody>
      </p:sp>
      <p:sp>
        <p:nvSpPr>
          <p:cNvPr id="3" name="Date Placeholder 5">
            <a:extLst>
              <a:ext uri="{FF2B5EF4-FFF2-40B4-BE49-F238E27FC236}">
                <a16:creationId xmlns:a16="http://schemas.microsoft.com/office/drawing/2014/main" id="{237A4FEF-25F8-EB2B-BBCB-9C32E4352C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/>
          <a:p>
            <a:fld id="{E03DF6FD-3F39-2043-B7EA-BFF43711A2B8}" type="datetimeFigureOut">
              <a:rPr lang="fr-FR" smtClean="0"/>
              <a:t>22/05/2026</a:t>
            </a:fld>
            <a:endParaRPr lang="fr-FR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0A15F7BA-3C85-B4B9-AEF9-6D650D325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/>
          <a:p>
            <a:fld id="{3BBED5F5-3DDA-A343-B801-1693B3A69C5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95114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95026D94-B8BF-C3D0-23F7-1AA4DA0C7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/>
          <a:p>
            <a:endParaRPr lang="fr-FR"/>
          </a:p>
        </p:txBody>
      </p:sp>
      <p:sp>
        <p:nvSpPr>
          <p:cNvPr id="3" name="Date Placeholder 5">
            <a:extLst>
              <a:ext uri="{FF2B5EF4-FFF2-40B4-BE49-F238E27FC236}">
                <a16:creationId xmlns:a16="http://schemas.microsoft.com/office/drawing/2014/main" id="{237A4FEF-25F8-EB2B-BBCB-9C32E4352C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/>
          <a:p>
            <a:fld id="{E03DF6FD-3F39-2043-B7EA-BFF43711A2B8}" type="datetimeFigureOut">
              <a:rPr lang="fr-FR" smtClean="0"/>
              <a:t>22/05/2026</a:t>
            </a:fld>
            <a:endParaRPr lang="fr-FR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0A15F7BA-3C85-B4B9-AEF9-6D650D325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/>
          <a:p>
            <a:fld id="{3BBED5F5-3DDA-A343-B801-1693B3A69C50}" type="slidenum">
              <a:rPr lang="fr-FR" smtClean="0"/>
              <a:t>‹#›</a:t>
            </a:fld>
            <a:endParaRPr lang="fr-FR"/>
          </a:p>
        </p:txBody>
      </p:sp>
      <p:pic>
        <p:nvPicPr>
          <p:cNvPr id="5" name="Image 4" descr="Une image contenant Lilas, violette, Magenta, bleu&#10;&#10;Le contenu généré par l’IA peut être incorrect.">
            <a:extLst>
              <a:ext uri="{FF2B5EF4-FFF2-40B4-BE49-F238E27FC236}">
                <a16:creationId xmlns:a16="http://schemas.microsoft.com/office/drawing/2014/main" id="{4617A4CF-3078-5AF2-2FAF-13C885C3E9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6093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s + 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Lilas, violette, Magenta, bleu&#10;&#10;Le contenu généré par l’IA peut être incorrect.">
            <a:extLst>
              <a:ext uri="{FF2B5EF4-FFF2-40B4-BE49-F238E27FC236}">
                <a16:creationId xmlns:a16="http://schemas.microsoft.com/office/drawing/2014/main" id="{28CE88D6-4ADB-0EEF-5F4B-B155B1C69B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475FC262-8BB5-8088-9A5E-EAEB561617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667"/>
            <a:ext cx="16200438" cy="9002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0315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95026D94-B8BF-C3D0-23F7-1AA4DA0C7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1929" y="9448336"/>
            <a:ext cx="7938215" cy="291551"/>
          </a:xfrm>
        </p:spPr>
        <p:txBody>
          <a:bodyPr/>
          <a:lstStyle/>
          <a:p>
            <a:endParaRPr lang="fr-FR"/>
          </a:p>
        </p:txBody>
      </p:sp>
      <p:sp>
        <p:nvSpPr>
          <p:cNvPr id="3" name="Date Placeholder 5">
            <a:extLst>
              <a:ext uri="{FF2B5EF4-FFF2-40B4-BE49-F238E27FC236}">
                <a16:creationId xmlns:a16="http://schemas.microsoft.com/office/drawing/2014/main" id="{237A4FEF-25F8-EB2B-BBCB-9C32E4352C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02384" y="9448335"/>
            <a:ext cx="2882414" cy="291549"/>
          </a:xfrm>
        </p:spPr>
        <p:txBody>
          <a:bodyPr/>
          <a:lstStyle/>
          <a:p>
            <a:fld id="{E03DF6FD-3F39-2043-B7EA-BFF43711A2B8}" type="datetimeFigureOut">
              <a:rPr lang="fr-FR" smtClean="0"/>
              <a:t>22/05/2026</a:t>
            </a:fld>
            <a:endParaRPr lang="fr-FR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0A15F7BA-3C85-B4B9-AEF9-6D650D325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69304" y="9448335"/>
            <a:ext cx="843774" cy="359987"/>
          </a:xfrm>
        </p:spPr>
        <p:txBody>
          <a:bodyPr/>
          <a:lstStyle/>
          <a:p>
            <a:fld id="{3BBED5F5-3DDA-A343-B801-1693B3A69C50}" type="slidenum">
              <a:rPr lang="fr-FR" smtClean="0"/>
              <a:t>‹#›</a:t>
            </a:fld>
            <a:endParaRPr lang="fr-FR"/>
          </a:p>
        </p:txBody>
      </p:sp>
      <p:pic>
        <p:nvPicPr>
          <p:cNvPr id="5" name="Image 4" descr="Une image contenant Lilas, violette, Magenta, bleu&#10;&#10;Le contenu généré par l’IA peut être incorrect.">
            <a:extLst>
              <a:ext uri="{FF2B5EF4-FFF2-40B4-BE49-F238E27FC236}">
                <a16:creationId xmlns:a16="http://schemas.microsoft.com/office/drawing/2014/main" id="{692D1287-A1F9-E8CF-F23E-BDB2C15EEF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6200438" cy="899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5513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C7C498-4153-4289-E66B-B120C599E785}"/>
              </a:ext>
            </a:extLst>
          </p:cNvPr>
          <p:cNvSpPr/>
          <p:nvPr userDrawn="1"/>
        </p:nvSpPr>
        <p:spPr>
          <a:xfrm>
            <a:off x="-1" y="7129046"/>
            <a:ext cx="3835692" cy="18704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25" dirty="0"/>
          </a:p>
        </p:txBody>
      </p:sp>
    </p:spTree>
    <p:extLst>
      <p:ext uri="{BB962C8B-B14F-4D97-AF65-F5344CB8AC3E}">
        <p14:creationId xmlns:p14="http://schemas.microsoft.com/office/powerpoint/2010/main" val="851448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p:blipFill>
        <p:spPr>
          <a:xfrm>
            <a:off x="12621997" y="5458053"/>
            <a:ext cx="1689233" cy="1649915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39045" y="3964360"/>
            <a:ext cx="1485711" cy="581596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42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559912" y="3964360"/>
            <a:ext cx="8660096" cy="581596"/>
          </a:xfrm>
        </p:spPr>
        <p:txBody>
          <a:bodyPr/>
          <a:lstStyle>
            <a:lvl1pPr>
              <a:lnSpc>
                <a:spcPct val="90000"/>
              </a:lnSpc>
              <a:defRPr lang="fr-FR" sz="42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59912" y="5223983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1050"/>
              </a:spcBef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59912" y="4664012"/>
            <a:ext cx="8660096" cy="413909"/>
          </a:xfrm>
        </p:spPr>
        <p:txBody>
          <a:bodyPr/>
          <a:lstStyle>
            <a:lvl1pPr>
              <a:lnSpc>
                <a:spcPct val="90000"/>
              </a:lnSpc>
              <a:defRPr lang="fr-FR" sz="2450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None/>
              <a:defRPr lang="fr-FR" sz="245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400"/>
              </a:spcBef>
              <a:defRPr sz="245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525"/>
              </a:spcBef>
              <a:defRPr lang="fr-FR" sz="1312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5343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8EBD0B9D-55BB-D91B-09EE-09922087D4E9}"/>
              </a:ext>
            </a:extLst>
          </p:cNvPr>
          <p:cNvGrpSpPr/>
          <p:nvPr userDrawn="1"/>
        </p:nvGrpSpPr>
        <p:grpSpPr>
          <a:xfrm>
            <a:off x="3488213" y="3696321"/>
            <a:ext cx="9338207" cy="1355524"/>
            <a:chOff x="2059274" y="2112556"/>
            <a:chExt cx="5270756" cy="774722"/>
          </a:xfrm>
        </p:grpSpPr>
        <p:pic>
          <p:nvPicPr>
            <p:cNvPr id="2" name="Picture 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50366835-777C-511E-AE03-D0BFC18D66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683" t="24035" r="10233" b="23055"/>
            <a:stretch/>
          </p:blipFill>
          <p:spPr>
            <a:xfrm>
              <a:off x="2059274" y="2213824"/>
              <a:ext cx="1954304" cy="60304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 descr="A logo with a rainbow colored letter&#10;&#10;AI-generated content may be incorrect.">
              <a:extLst>
                <a:ext uri="{FF2B5EF4-FFF2-40B4-BE49-F238E27FC236}">
                  <a16:creationId xmlns:a16="http://schemas.microsoft.com/office/drawing/2014/main" id="{B4D6559A-975B-B24F-E41F-6DD0A25766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4614" y="2112556"/>
              <a:ext cx="2495416" cy="774722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DC764F2-2E9F-1988-69AE-E09AD1DE2864}"/>
                </a:ext>
              </a:extLst>
            </p:cNvPr>
            <p:cNvCxnSpPr/>
            <p:nvPr userDrawn="1"/>
          </p:nvCxnSpPr>
          <p:spPr>
            <a:xfrm>
              <a:off x="4459629" y="2146572"/>
              <a:ext cx="0" cy="72697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51041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1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62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35" Type="http://schemas.openxmlformats.org/officeDocument/2006/relationships/slideLayout" Target="../slideLayouts/slideLayout6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1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1252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890" r:id="rId2"/>
  </p:sldLayoutIdLst>
  <p:txStyles>
    <p:titleStyle>
      <a:lvl1pPr algn="l" defTabSz="914421" rtl="0" eaLnBrk="1" latinLnBrk="0" hangingPunct="1">
        <a:lnSpc>
          <a:spcPct val="90000"/>
        </a:lnSpc>
        <a:spcBef>
          <a:spcPct val="0"/>
        </a:spcBef>
        <a:buNone/>
        <a:defRPr lang="fr-FR" sz="3200" b="0" i="0" kern="1200" dirty="0">
          <a:solidFill>
            <a:schemeClr val="accent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21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868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1pPr>
      <a:lvl2pPr marL="302407" indent="-302407" algn="l" defTabSz="914421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68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2pPr>
      <a:lvl3pPr marL="609613" indent="-302407" algn="l" defTabSz="914421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68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3pPr>
      <a:lvl4pPr marL="912020" indent="-302407" algn="l" defTabSz="914421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68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4pPr>
      <a:lvl5pPr marL="1341149" indent="-381007" algn="l" defTabSz="914421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68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Georgia" panose="02040502050405020303" pitchFamily="18" charset="0"/>
        </a:defRPr>
      </a:lvl5pPr>
      <a:lvl6pPr marL="2286050" indent="0" algn="l" defTabSz="9144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65" indent="-228604" algn="l" defTabSz="9144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76" indent="-228604" algn="l" defTabSz="9144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86" indent="-228604" algn="l" defTabSz="9144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0" algn="l" defTabSz="91442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1" algn="l" defTabSz="91442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1" algn="l" defTabSz="91442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0" algn="l" defTabSz="91442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0" algn="l" defTabSz="91442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1" algn="l" defTabSz="91442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71" algn="l" defTabSz="91442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82" algn="l" defTabSz="91442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96" userDrawn="1">
          <p15:clr>
            <a:srgbClr val="F26B43"/>
          </p15:clr>
        </p15:guide>
        <p15:guide id="2" pos="2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6789" y="505889"/>
            <a:ext cx="15033241" cy="1259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6771" y="2357609"/>
            <a:ext cx="15020485" cy="56081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9" name="Picture 8" descr="Shape&#10;&#10;Description automatically generated with low confidence">
            <a:extLst>
              <a:ext uri="{FF2B5EF4-FFF2-40B4-BE49-F238E27FC236}">
                <a16:creationId xmlns:a16="http://schemas.microsoft.com/office/drawing/2014/main" id="{B741AF39-DE07-03F0-9A21-69C0A7B48EE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734" y="8042178"/>
            <a:ext cx="2050216" cy="933831"/>
          </a:xfrm>
          <a:prstGeom prst="rect">
            <a:avLst/>
          </a:prstGeom>
          <a:ln>
            <a:noFill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61929" y="8452134"/>
            <a:ext cx="7938215" cy="291551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ctr">
              <a:defRPr sz="1575" b="0" i="0" cap="none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602384" y="8438016"/>
            <a:ext cx="2882414" cy="291549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r">
              <a:defRPr sz="1575" b="0" i="0" spc="34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E03DF6FD-3F39-2043-B7EA-BFF43711A2B8}" type="datetimeFigureOut">
              <a:rPr lang="en-US" smtClean="0"/>
              <a:t>5/22/2026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69304" y="8386245"/>
            <a:ext cx="843774" cy="35998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2100" b="0" i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3BBED5F5-3DDA-A343-B801-1693B3A69C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668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966" r:id="rId6"/>
  </p:sldLayoutIdLst>
  <p:txStyles>
    <p:titleStyle>
      <a:lvl1pPr algn="l" defTabSz="1199993" rtl="0" eaLnBrk="1" latinLnBrk="0" hangingPunct="1">
        <a:lnSpc>
          <a:spcPct val="90000"/>
        </a:lnSpc>
        <a:spcBef>
          <a:spcPct val="0"/>
        </a:spcBef>
        <a:buNone/>
        <a:defRPr lang="fr-FR" sz="4200" b="0" i="0" kern="1200" dirty="0">
          <a:solidFill>
            <a:schemeClr val="accent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1199993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1pPr>
      <a:lvl2pPr marL="396848" indent="-396848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2pPr>
      <a:lvl3pPr marL="799995" indent="-396848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3pPr>
      <a:lvl4pPr marL="1196843" indent="-396848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4pPr>
      <a:lvl5pPr marL="1759990" indent="-499996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Georgia" panose="02040502050405020303" pitchFamily="18" charset="0"/>
        </a:defRPr>
      </a:lvl5pPr>
      <a:lvl6pPr marL="2999984" indent="0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None/>
        <a:defRPr sz="2362" kern="1200">
          <a:solidFill>
            <a:schemeClr val="tx1"/>
          </a:solidFill>
          <a:latin typeface="+mn-lt"/>
          <a:ea typeface="+mn-ea"/>
          <a:cs typeface="+mn-cs"/>
        </a:defRPr>
      </a:lvl6pPr>
      <a:lvl7pPr marL="3899979" indent="-299998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7pPr>
      <a:lvl8pPr marL="4499976" indent="-299998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8pPr>
      <a:lvl9pPr marL="5099974" indent="-299998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1pPr>
      <a:lvl2pPr marL="599997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2pPr>
      <a:lvl3pPr marL="1199993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3pPr>
      <a:lvl4pPr marL="1799992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4pPr>
      <a:lvl5pPr marL="2399987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5pPr>
      <a:lvl6pPr marL="2999984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6pPr>
      <a:lvl7pPr marL="3599980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7pPr>
      <a:lvl8pPr marL="4199977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8pPr>
      <a:lvl9pPr marL="4799976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597" userDrawn="1">
          <p15:clr>
            <a:srgbClr val="F26B43"/>
          </p15:clr>
        </p15:guide>
        <p15:guide id="2" pos="18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6789" y="505889"/>
            <a:ext cx="15033241" cy="1259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6771" y="2357610"/>
            <a:ext cx="15020485" cy="56081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61929" y="8452132"/>
            <a:ext cx="7938215" cy="291551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ctr">
              <a:defRPr sz="1575" b="0" i="0" cap="none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1602384" y="8438015"/>
            <a:ext cx="2882414" cy="291549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r">
              <a:defRPr sz="1575" b="0" i="0" spc="34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5DE044D9-4EF4-4BC4-BD56-D9E9511C8464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4769304" y="8386247"/>
            <a:ext cx="843774" cy="35998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2100" b="0" i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883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967" r:id="rId20"/>
  </p:sldLayoutIdLst>
  <p:hf hdr="0"/>
  <p:txStyles>
    <p:titleStyle>
      <a:lvl1pPr algn="l" defTabSz="1200001" rtl="0" eaLnBrk="1" latinLnBrk="0" hangingPunct="1">
        <a:lnSpc>
          <a:spcPct val="90000"/>
        </a:lnSpc>
        <a:spcBef>
          <a:spcPct val="0"/>
        </a:spcBef>
        <a:buNone/>
        <a:defRPr lang="fr-FR" sz="4200" b="0" i="0" kern="1200" dirty="0">
          <a:solidFill>
            <a:schemeClr val="accent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1200001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1pPr>
      <a:lvl2pPr marL="396851" indent="-396851" algn="l" defTabSz="1200001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2pPr>
      <a:lvl3pPr marL="800000" indent="-396851" algn="l" defTabSz="1200001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3pPr>
      <a:lvl4pPr marL="1196851" indent="-396851" algn="l" defTabSz="1200001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4pPr>
      <a:lvl5pPr marL="1760001" indent="-500001" algn="l" defTabSz="1200001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Georgia" panose="02040502050405020303" pitchFamily="18" charset="0"/>
        </a:defRPr>
      </a:lvl5pPr>
      <a:lvl6pPr marL="3000002" indent="0" algn="l" defTabSz="1200001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None/>
        <a:defRPr sz="2362" kern="1200">
          <a:solidFill>
            <a:schemeClr val="tx1"/>
          </a:solidFill>
          <a:latin typeface="+mn-lt"/>
          <a:ea typeface="+mn-ea"/>
          <a:cs typeface="+mn-cs"/>
        </a:defRPr>
      </a:lvl6pPr>
      <a:lvl7pPr marL="3900002" indent="-299999" algn="l" defTabSz="1200001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7pPr>
      <a:lvl8pPr marL="4500003" indent="-299999" algn="l" defTabSz="1200001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8pPr>
      <a:lvl9pPr marL="5100003" indent="-299999" algn="l" defTabSz="1200001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00001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1pPr>
      <a:lvl2pPr marL="600000" algn="l" defTabSz="1200001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2pPr>
      <a:lvl3pPr marL="1200001" algn="l" defTabSz="1200001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1" algn="l" defTabSz="1200001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4pPr>
      <a:lvl5pPr marL="2400002" algn="l" defTabSz="1200001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5pPr>
      <a:lvl6pPr marL="3000002" algn="l" defTabSz="1200001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3" algn="l" defTabSz="1200001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7pPr>
      <a:lvl8pPr marL="4200003" algn="l" defTabSz="1200001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8pPr>
      <a:lvl9pPr marL="4800004" algn="l" defTabSz="1200001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597" userDrawn="1">
          <p15:clr>
            <a:srgbClr val="F26B43"/>
          </p15:clr>
        </p15:guide>
        <p15:guide id="2" pos="18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6789" y="505889"/>
            <a:ext cx="15033241" cy="1259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6771" y="2357609"/>
            <a:ext cx="15020485" cy="56081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9" name="Picture 8" descr="Shape&#10;&#10;Description automatically generated with low confidence">
            <a:extLst>
              <a:ext uri="{FF2B5EF4-FFF2-40B4-BE49-F238E27FC236}">
                <a16:creationId xmlns:a16="http://schemas.microsoft.com/office/drawing/2014/main" id="{B741AF39-DE07-03F0-9A21-69C0A7B48EEC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735" y="8042178"/>
            <a:ext cx="2050216" cy="933831"/>
          </a:xfrm>
          <a:prstGeom prst="rect">
            <a:avLst/>
          </a:prstGeom>
          <a:ln>
            <a:noFill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61929" y="8452134"/>
            <a:ext cx="7938215" cy="291551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ctr">
              <a:defRPr sz="1575" b="0" i="0" cap="none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</a:lstStyle>
          <a:p>
            <a:endParaRPr lang="en-US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1602384" y="8438016"/>
            <a:ext cx="2882414" cy="291549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r">
              <a:defRPr sz="1575" b="0" i="0" spc="34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</a:lstStyle>
          <a:p>
            <a:fld id="{5DE044D9-4EF4-4BC4-BD56-D9E9511C8464}" type="datetime1">
              <a:rPr lang="en-US" smtClean="0"/>
              <a:pPr/>
              <a:t>5/22/202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4769304" y="8386245"/>
            <a:ext cx="843774" cy="35998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2100" b="0" i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Sanofi Sans" panose="02010503030201020103" pitchFamily="2" charset="0"/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093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  <p:sldLayoutId id="2147483778" r:id="rId26"/>
    <p:sldLayoutId id="2147483779" r:id="rId27"/>
    <p:sldLayoutId id="2147483780" r:id="rId28"/>
    <p:sldLayoutId id="2147483781" r:id="rId29"/>
    <p:sldLayoutId id="2147483782" r:id="rId30"/>
    <p:sldLayoutId id="2147483783" r:id="rId31"/>
    <p:sldLayoutId id="2147483784" r:id="rId32"/>
    <p:sldLayoutId id="2147483785" r:id="rId33"/>
    <p:sldLayoutId id="2147483786" r:id="rId34"/>
    <p:sldLayoutId id="2147483787" r:id="rId35"/>
  </p:sldLayoutIdLst>
  <p:hf hdr="0"/>
  <p:txStyles>
    <p:titleStyle>
      <a:lvl1pPr algn="l" defTabSz="1199993" rtl="0" eaLnBrk="1" latinLnBrk="0" hangingPunct="1">
        <a:lnSpc>
          <a:spcPct val="90000"/>
        </a:lnSpc>
        <a:spcBef>
          <a:spcPct val="0"/>
        </a:spcBef>
        <a:buNone/>
        <a:defRPr lang="fr-FR" sz="4200" b="0" i="0" kern="1200" dirty="0">
          <a:solidFill>
            <a:schemeClr val="accent1"/>
          </a:solidFill>
          <a:latin typeface="Sanofi Sans" panose="02010503030201020103" pitchFamily="2" charset="77"/>
          <a:ea typeface="Verdana" panose="020B0604030504040204" pitchFamily="34" charset="0"/>
          <a:cs typeface="Sanofi Sans" panose="02010503030201020103" pitchFamily="2" charset="0"/>
        </a:defRPr>
      </a:lvl1pPr>
    </p:titleStyle>
    <p:bodyStyle>
      <a:lvl1pPr marL="0" indent="0" algn="l" defTabSz="1199993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Sanofi Sans" panose="02010503030201020103" pitchFamily="2" charset="0"/>
        </a:defRPr>
      </a:lvl1pPr>
      <a:lvl2pPr marL="396848" indent="-396848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Sanofi Sans" panose="02010503030201020103" pitchFamily="2" charset="0"/>
        </a:defRPr>
      </a:lvl2pPr>
      <a:lvl3pPr marL="799995" indent="-396848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Sanofi Sans" panose="02010503030201020103" pitchFamily="2" charset="0"/>
        </a:defRPr>
      </a:lvl3pPr>
      <a:lvl4pPr marL="1196843" indent="-396848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Sanofi Sans" panose="02010503030201020103" pitchFamily="2" charset="0"/>
        </a:defRPr>
      </a:lvl4pPr>
      <a:lvl5pPr marL="1759990" indent="-499996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Sanofi Sans" panose="02010503030201020103" pitchFamily="2" charset="0"/>
        </a:defRPr>
      </a:lvl5pPr>
      <a:lvl6pPr marL="2999984" indent="0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None/>
        <a:defRPr sz="2362" kern="1200">
          <a:solidFill>
            <a:schemeClr val="tx1"/>
          </a:solidFill>
          <a:latin typeface="+mn-lt"/>
          <a:ea typeface="+mn-ea"/>
          <a:cs typeface="+mn-cs"/>
        </a:defRPr>
      </a:lvl6pPr>
      <a:lvl7pPr marL="3899979" indent="-299998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7pPr>
      <a:lvl8pPr marL="4499976" indent="-299998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8pPr>
      <a:lvl9pPr marL="5099974" indent="-299998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1pPr>
      <a:lvl2pPr marL="599997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2pPr>
      <a:lvl3pPr marL="1199993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3pPr>
      <a:lvl4pPr marL="1799992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4pPr>
      <a:lvl5pPr marL="2399987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5pPr>
      <a:lvl6pPr marL="2999984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6pPr>
      <a:lvl7pPr marL="3599980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7pPr>
      <a:lvl8pPr marL="4199977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8pPr>
      <a:lvl9pPr marL="4799976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597" userDrawn="1">
          <p15:clr>
            <a:srgbClr val="F26B43"/>
          </p15:clr>
        </p15:guide>
        <p15:guide id="2" pos="182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6789" y="505889"/>
            <a:ext cx="15033241" cy="1259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6771" y="2357609"/>
            <a:ext cx="15020485" cy="56081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9" name="Picture 8" descr="Shape&#10;&#10;Description automatically generated with low confidence">
            <a:extLst>
              <a:ext uri="{FF2B5EF4-FFF2-40B4-BE49-F238E27FC236}">
                <a16:creationId xmlns:a16="http://schemas.microsoft.com/office/drawing/2014/main" id="{B741AF39-DE07-03F0-9A21-69C0A7B48EE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734" y="8042178"/>
            <a:ext cx="2050216" cy="933831"/>
          </a:xfrm>
          <a:prstGeom prst="rect">
            <a:avLst/>
          </a:prstGeom>
          <a:ln>
            <a:noFill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61929" y="8452134"/>
            <a:ext cx="7938215" cy="291551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ctr">
              <a:defRPr sz="1575" b="0" i="0" cap="none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fr-FR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602384" y="8438016"/>
            <a:ext cx="2882414" cy="291549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r">
              <a:defRPr sz="1575" b="0" i="0" spc="34" baseline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E03DF6FD-3F39-2043-B7EA-BFF43711A2B8}" type="datetimeFigureOut">
              <a:rPr lang="fr-FR" smtClean="0"/>
              <a:t>22/05/2026</a:t>
            </a:fld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69304" y="8386245"/>
            <a:ext cx="843774" cy="35998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2100" b="0" i="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3BBED5F5-3DDA-A343-B801-1693B3A69C5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6783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</p:sldLayoutIdLst>
  <p:txStyles>
    <p:titleStyle>
      <a:lvl1pPr algn="l" defTabSz="1199993" rtl="0" eaLnBrk="1" latinLnBrk="0" hangingPunct="1">
        <a:lnSpc>
          <a:spcPct val="90000"/>
        </a:lnSpc>
        <a:spcBef>
          <a:spcPct val="0"/>
        </a:spcBef>
        <a:buNone/>
        <a:defRPr lang="fr-FR" sz="4200" b="0" i="0" kern="1200" dirty="0">
          <a:solidFill>
            <a:schemeClr val="accent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1199993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1pPr>
      <a:lvl2pPr marL="396848" indent="-396848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2pPr>
      <a:lvl3pPr marL="799995" indent="-396848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3pPr>
      <a:lvl4pPr marL="1196843" indent="-396848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Verdana" panose="020B0604030504040204" pitchFamily="34" charset="0"/>
        </a:defRPr>
      </a:lvl4pPr>
      <a:lvl5pPr marL="1759990" indent="-499996" algn="l" defTabSz="119999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450" b="0" i="0" kern="1200">
          <a:solidFill>
            <a:schemeClr val="tx1"/>
          </a:solidFill>
          <a:latin typeface="Sanofi Sans" panose="02010503030201020103" pitchFamily="2" charset="77"/>
          <a:ea typeface="Verdana" panose="020B0604030504040204" pitchFamily="34" charset="0"/>
          <a:cs typeface="Georgia" panose="02040502050405020303" pitchFamily="18" charset="0"/>
        </a:defRPr>
      </a:lvl5pPr>
      <a:lvl6pPr marL="2999984" indent="0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None/>
        <a:defRPr sz="2362" kern="1200">
          <a:solidFill>
            <a:schemeClr val="tx1"/>
          </a:solidFill>
          <a:latin typeface="+mn-lt"/>
          <a:ea typeface="+mn-ea"/>
          <a:cs typeface="+mn-cs"/>
        </a:defRPr>
      </a:lvl6pPr>
      <a:lvl7pPr marL="3899979" indent="-299998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7pPr>
      <a:lvl8pPr marL="4499976" indent="-299998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8pPr>
      <a:lvl9pPr marL="5099974" indent="-299998" algn="l" defTabSz="1199993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1pPr>
      <a:lvl2pPr marL="599997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2pPr>
      <a:lvl3pPr marL="1199993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3pPr>
      <a:lvl4pPr marL="1799992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4pPr>
      <a:lvl5pPr marL="2399987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5pPr>
      <a:lvl6pPr marL="2999984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6pPr>
      <a:lvl7pPr marL="3599980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7pPr>
      <a:lvl8pPr marL="4199977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8pPr>
      <a:lvl9pPr marL="4799976" algn="l" defTabSz="1199993" rtl="0" eaLnBrk="1" latinLnBrk="0" hangingPunct="1">
        <a:defRPr sz="23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597" userDrawn="1">
          <p15:clr>
            <a:srgbClr val="F26B43"/>
          </p15:clr>
        </p15:guide>
        <p15:guide id="2" pos="1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42.svg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C5FB1-4BDE-F598-171D-49DA9F3D4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4DA98EBA-FA3B-93F3-D31E-9EEA027BC707}"/>
              </a:ext>
            </a:extLst>
          </p:cNvPr>
          <p:cNvGrpSpPr/>
          <p:nvPr/>
        </p:nvGrpSpPr>
        <p:grpSpPr>
          <a:xfrm>
            <a:off x="0" y="5717"/>
            <a:ext cx="16215670" cy="8999539"/>
            <a:chOff x="1" y="4354"/>
            <a:chExt cx="12201874" cy="6858001"/>
          </a:xfrm>
        </p:grpSpPr>
        <p:pic>
          <p:nvPicPr>
            <p:cNvPr id="4" name="Picture 2" descr="E:\РАБОТА\4 ФОРУМЫ+КОНФЕРЕНЦИИ\Тренинг_ВСП Ответственный пациент\презентации\элементы\04.png">
              <a:extLst>
                <a:ext uri="{FF2B5EF4-FFF2-40B4-BE49-F238E27FC236}">
                  <a16:creationId xmlns:a16="http://schemas.microsoft.com/office/drawing/2014/main" id="{7B4A721B-717C-C8B3-B6E3-6B26A8A96E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3513" y="4354"/>
              <a:ext cx="11028362" cy="6858001"/>
            </a:xfrm>
            <a:prstGeom prst="rect">
              <a:avLst/>
            </a:prstGeom>
            <a:noFill/>
          </p:spPr>
        </p:pic>
        <p:pic>
          <p:nvPicPr>
            <p:cNvPr id="5" name="Picture 3" descr="E:\РАБОТА\4 ФОРУМЫ+КОНФЕРЕНЦИИ\Тренинг_ВСП Ответственный пациент\презентации\элементы\03.png">
              <a:extLst>
                <a:ext uri="{FF2B5EF4-FFF2-40B4-BE49-F238E27FC236}">
                  <a16:creationId xmlns:a16="http://schemas.microsoft.com/office/drawing/2014/main" id="{DF0A6E52-AB18-52AB-9F44-F5225F8FA1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1" y="1845140"/>
              <a:ext cx="5210544" cy="5012543"/>
            </a:xfrm>
            <a:prstGeom prst="rect">
              <a:avLst/>
            </a:prstGeom>
            <a:noFill/>
          </p:spPr>
        </p:pic>
        <p:pic>
          <p:nvPicPr>
            <p:cNvPr id="9" name="Picture 7" descr="E:\РАБОТА\4 ФОРУМЫ+КОНФЕРЕНЦИИ\Тренинг_ВСП Ответственный пациент\презентации\элементы\слайды.png">
              <a:extLst>
                <a:ext uri="{FF2B5EF4-FFF2-40B4-BE49-F238E27FC236}">
                  <a16:creationId xmlns:a16="http://schemas.microsoft.com/office/drawing/2014/main" id="{E6566F81-1C71-6D91-0172-A8BEAA0AD3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23042" y="357166"/>
              <a:ext cx="1231900" cy="1231900"/>
            </a:xfrm>
            <a:prstGeom prst="rect">
              <a:avLst/>
            </a:prstGeom>
            <a:noFill/>
          </p:spPr>
        </p:pic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1CE7D158-F7EB-2E95-D2DD-18E8A2D643F8}"/>
                </a:ext>
              </a:extLst>
            </p:cNvPr>
            <p:cNvSpPr/>
            <p:nvPr/>
          </p:nvSpPr>
          <p:spPr>
            <a:xfrm>
              <a:off x="2451868" y="500042"/>
              <a:ext cx="9144064" cy="92333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/>
              <a:r>
                <a:rPr lang="ru-RU" sz="1706" b="1" dirty="0">
                  <a:solidFill>
                    <a:srgbClr val="0070BA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Полугодовой тренинг общественных экспертов и пациентов ВСП 2026.1 </a:t>
              </a:r>
            </a:p>
            <a:p>
              <a:pPr algn="ctr"/>
              <a:r>
                <a:rPr lang="ru-RU" sz="2690" dirty="0">
                  <a:solidFill>
                    <a:srgbClr val="0070BA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«ОНЛАЙН-МАРАФОН: ОТВЕТСТВЕННЫЙ ПАЦИЕНТ – </a:t>
              </a:r>
            </a:p>
            <a:p>
              <a:pPr algn="ctr"/>
              <a:r>
                <a:rPr lang="ru-RU" sz="2690" dirty="0">
                  <a:solidFill>
                    <a:srgbClr val="0070BA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ЭКОСИСТЕМА МОЕГО ЗДОРОВЬЯ»</a:t>
              </a:r>
            </a:p>
          </p:txBody>
        </p:sp>
        <p:pic>
          <p:nvPicPr>
            <p:cNvPr id="1026" name="Picture 2" descr="C:\Users\shert\Документы\Работа\4 ФОРУМЫ+КОНФЕРЕНЦИИ\Тренинг_ВСП Ответственный пациент\2026 май\Тренинг ВСП 2026 -презентации\02.png">
              <a:extLst>
                <a:ext uri="{FF2B5EF4-FFF2-40B4-BE49-F238E27FC236}">
                  <a16:creationId xmlns:a16="http://schemas.microsoft.com/office/drawing/2014/main" id="{04A190E2-FD47-0BA7-566A-49516C61B1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095866" y="1028616"/>
              <a:ext cx="1094547" cy="828748"/>
            </a:xfrm>
            <a:prstGeom prst="rect">
              <a:avLst/>
            </a:prstGeom>
            <a:noFill/>
          </p:spPr>
        </p:pic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DEDDAAB-F46F-28A0-29A4-2E579DCE0B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66379" y="2485762"/>
            <a:ext cx="13606760" cy="2905684"/>
          </a:xfrm>
        </p:spPr>
        <p:txBody>
          <a:bodyPr>
            <a:noAutofit/>
          </a:bodyPr>
          <a:lstStyle/>
          <a:p>
            <a:pPr algn="ctr"/>
            <a:r>
              <a:rPr lang="ru-RU" sz="3801" dirty="0"/>
              <a:t>РЕГИОНАЛЬНЫЕ МОДЕЛИ ВЗАИМОДЕЙСТВИЯ ФАРМКОМПАНИЙ И ПАЦИЕНТСКИХ НКО</a:t>
            </a:r>
            <a:br>
              <a:rPr lang="ru-RU" sz="3801" dirty="0"/>
            </a:br>
            <a:r>
              <a:rPr lang="ru-RU" sz="3801" dirty="0"/>
              <a:t/>
            </a:r>
            <a:br>
              <a:rPr lang="ru-RU" sz="3801" dirty="0"/>
            </a:br>
            <a:r>
              <a:rPr lang="ru-RU" sz="3801" dirty="0"/>
              <a:t>ОСНОВНЫЕ ПОДХОДЫ В РАБОТЕ С ПАЦИЕНТСКИМИ ОРГАНИЗАЦИЯМ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CB37390-C3AA-F950-4D30-F55C9BCFB9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81195" y="5767689"/>
            <a:ext cx="11764647" cy="2479784"/>
          </a:xfrm>
        </p:spPr>
        <p:txBody>
          <a:bodyPr>
            <a:noAutofit/>
          </a:bodyPr>
          <a:lstStyle/>
          <a:p>
            <a:pPr defTabSz="900018">
              <a:lnSpc>
                <a:spcPct val="100000"/>
              </a:lnSpc>
              <a:buClr>
                <a:srgbClr val="35A5D6"/>
              </a:buClr>
              <a:buSzPct val="130000"/>
            </a:pPr>
            <a:r>
              <a:rPr lang="ru-RU" sz="3200" b="1" dirty="0">
                <a:solidFill>
                  <a:srgbClr val="0070BA"/>
                </a:solidFill>
                <a:latin typeface="Verdana" pitchFamily="34" charset="0"/>
              </a:rPr>
              <a:t>Стрельцов Александр Геннадьевич </a:t>
            </a:r>
          </a:p>
          <a:p>
            <a:pPr defTabSz="900018">
              <a:lnSpc>
                <a:spcPct val="100000"/>
              </a:lnSpc>
              <a:buClr>
                <a:srgbClr val="35A5D6"/>
              </a:buClr>
              <a:buSzPct val="130000"/>
            </a:pPr>
            <a:r>
              <a:rPr lang="ru-RU" sz="3200" b="1" dirty="0" err="1">
                <a:solidFill>
                  <a:srgbClr val="0070BA"/>
                </a:solidFill>
                <a:latin typeface="Verdana" pitchFamily="34" charset="0"/>
              </a:rPr>
              <a:t>Зарочинцева</a:t>
            </a:r>
            <a:r>
              <a:rPr lang="ru-RU" sz="3200" b="1" dirty="0">
                <a:solidFill>
                  <a:srgbClr val="0070BA"/>
                </a:solidFill>
                <a:latin typeface="Verdana" pitchFamily="34" charset="0"/>
              </a:rPr>
              <a:t> Ирина Витальевна</a:t>
            </a:r>
          </a:p>
          <a:p>
            <a:pPr defTabSz="900018">
              <a:lnSpc>
                <a:spcPct val="100000"/>
              </a:lnSpc>
              <a:buClr>
                <a:srgbClr val="35A5D6"/>
              </a:buClr>
              <a:buSzPct val="130000"/>
            </a:pPr>
            <a:r>
              <a:rPr lang="ru-RU" sz="2800" dirty="0">
                <a:solidFill>
                  <a:srgbClr val="0070BA"/>
                </a:solidFill>
                <a:latin typeface="Verdana" pitchFamily="34" charset="0"/>
              </a:rPr>
              <a:t>Представители Ассоциации </a:t>
            </a:r>
            <a:endParaRPr lang="ru-RU" sz="2800" dirty="0">
              <a:solidFill>
                <a:srgbClr val="0070BA"/>
              </a:solidFill>
              <a:latin typeface="Verdana" pitchFamily="34" charset="0"/>
            </a:endParaRPr>
          </a:p>
          <a:p>
            <a:pPr defTabSz="900018">
              <a:lnSpc>
                <a:spcPct val="100000"/>
              </a:lnSpc>
              <a:buClr>
                <a:srgbClr val="35A5D6"/>
              </a:buClr>
              <a:buSzPct val="130000"/>
            </a:pPr>
            <a:r>
              <a:rPr lang="ru-RU" sz="2800" dirty="0">
                <a:solidFill>
                  <a:srgbClr val="0070BA"/>
                </a:solidFill>
                <a:latin typeface="Verdana" pitchFamily="34" charset="0"/>
              </a:rPr>
              <a:t>международных </a:t>
            </a:r>
            <a:r>
              <a:rPr lang="ru-RU" sz="2800" dirty="0">
                <a:solidFill>
                  <a:srgbClr val="0070BA"/>
                </a:solidFill>
                <a:latin typeface="Verdana" pitchFamily="34" charset="0"/>
              </a:rPr>
              <a:t>фармацевтических </a:t>
            </a:r>
            <a:r>
              <a:rPr lang="ru-RU" sz="2800" dirty="0">
                <a:solidFill>
                  <a:srgbClr val="0070BA"/>
                </a:solidFill>
                <a:latin typeface="Verdana" pitchFamily="34" charset="0"/>
              </a:rPr>
              <a:t>производителей</a:t>
            </a:r>
          </a:p>
          <a:p>
            <a:endParaRPr lang="ru-RU" sz="31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150516" y="8223189"/>
            <a:ext cx="276710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B6E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 мая 2026 года</a:t>
            </a:r>
          </a:p>
        </p:txBody>
      </p:sp>
    </p:spTree>
    <p:extLst>
      <p:ext uri="{BB962C8B-B14F-4D97-AF65-F5344CB8AC3E}">
        <p14:creationId xmlns:p14="http://schemas.microsoft.com/office/powerpoint/2010/main" val="3693584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DCE907-7C70-746C-EB91-3998F1CA4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97B6B3E7-822C-C936-8E14-F1CE42B0423A}"/>
              </a:ext>
            </a:extLst>
          </p:cNvPr>
          <p:cNvSpPr/>
          <p:nvPr/>
        </p:nvSpPr>
        <p:spPr>
          <a:xfrm>
            <a:off x="6593720" y="129406"/>
            <a:ext cx="9317863" cy="8652633"/>
          </a:xfrm>
          <a:prstGeom prst="roundRect">
            <a:avLst>
              <a:gd name="adj" fmla="val 612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99997">
              <a:defRPr/>
            </a:pPr>
            <a:endParaRPr lang="ru-RU" sz="1773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2" name="Text 14">
            <a:extLst>
              <a:ext uri="{FF2B5EF4-FFF2-40B4-BE49-F238E27FC236}">
                <a16:creationId xmlns:a16="http://schemas.microsoft.com/office/drawing/2014/main" id="{8324C77C-32A7-3F06-517D-7B52C60A2A19}"/>
              </a:ext>
            </a:extLst>
          </p:cNvPr>
          <p:cNvSpPr/>
          <p:nvPr/>
        </p:nvSpPr>
        <p:spPr>
          <a:xfrm>
            <a:off x="6961088" y="385751"/>
            <a:ext cx="8694408" cy="1981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9997">
              <a:defRPr/>
            </a:pPr>
            <a:r>
              <a:rPr lang="ru-RU" sz="3150" b="1" kern="100" dirty="0">
                <a:solidFill>
                  <a:srgbClr val="23004C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Взаимодействие с пациентскими организациями (ПО) в России: </a:t>
            </a:r>
            <a:r>
              <a:rPr lang="ru-RU" sz="2886" kern="100" dirty="0">
                <a:solidFill>
                  <a:srgbClr val="23004C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нормативно-правовая база</a:t>
            </a:r>
          </a:p>
          <a:p>
            <a:pPr defTabSz="599997">
              <a:defRPr/>
            </a:pPr>
            <a:r>
              <a:rPr lang="ru-RU" sz="2886" kern="100" dirty="0">
                <a:solidFill>
                  <a:srgbClr val="23004C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и ключевые принципы</a:t>
            </a:r>
            <a:endParaRPr lang="en-US" sz="2886" kern="100" dirty="0">
              <a:solidFill>
                <a:srgbClr val="23004C"/>
              </a:solidFill>
              <a:latin typeface="Verdana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BED8B7-1C7C-ABDF-55E6-1781C21AFB2C}"/>
              </a:ext>
            </a:extLst>
          </p:cNvPr>
          <p:cNvSpPr txBox="1"/>
          <p:nvPr/>
        </p:nvSpPr>
        <p:spPr>
          <a:xfrm>
            <a:off x="182706" y="458249"/>
            <a:ext cx="6259762" cy="39091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9997">
              <a:lnSpc>
                <a:spcPct val="150000"/>
              </a:lnSpc>
              <a:defRPr/>
            </a:pPr>
            <a:r>
              <a:rPr lang="ru-RU" sz="1837" b="1" dirty="0">
                <a:solidFill>
                  <a:prstClr val="black"/>
                </a:solidFill>
                <a:latin typeface="Verdana"/>
              </a:rPr>
              <a:t>Законодательство РФ:</a:t>
            </a:r>
          </a:p>
          <a:p>
            <a:pPr marL="375007" indent="-375007" defTabSz="5999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837" dirty="0">
                <a:solidFill>
                  <a:prstClr val="black"/>
                </a:solidFill>
                <a:latin typeface="Verdana"/>
              </a:rPr>
              <a:t>№ 323-ФЗ </a:t>
            </a:r>
            <a:r>
              <a:rPr lang="ru-RU" sz="1837" dirty="0">
                <a:solidFill>
                  <a:prstClr val="black"/>
                </a:solidFill>
                <a:latin typeface="Verdana"/>
              </a:rPr>
              <a:t>«Об основах охраны здоровья граждан в РФ»</a:t>
            </a:r>
          </a:p>
          <a:p>
            <a:pPr marL="375007" indent="-375007" defTabSz="45001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37" dirty="0">
                <a:solidFill>
                  <a:prstClr val="black"/>
                </a:solidFill>
                <a:latin typeface="Verdana"/>
              </a:rPr>
              <a:t>№ 61-ФЗ </a:t>
            </a:r>
            <a:r>
              <a:rPr lang="ru-RU" sz="1837" dirty="0">
                <a:solidFill>
                  <a:prstClr val="black"/>
                </a:solidFill>
                <a:latin typeface="Verdana"/>
              </a:rPr>
              <a:t>«Об обращении лекарственных средств»</a:t>
            </a:r>
          </a:p>
          <a:p>
            <a:pPr marL="375007" indent="-375007" defTabSz="45001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37" dirty="0">
                <a:solidFill>
                  <a:prstClr val="black"/>
                </a:solidFill>
                <a:latin typeface="Verdana"/>
              </a:rPr>
              <a:t>№ 82-ФЗ «О</a:t>
            </a:r>
            <a:r>
              <a:rPr lang="ru-RU" sz="1837" dirty="0">
                <a:solidFill>
                  <a:prstClr val="black"/>
                </a:solidFill>
                <a:latin typeface="Verdana"/>
              </a:rPr>
              <a:t> некоммерческих организациях»</a:t>
            </a:r>
            <a:endParaRPr lang="en-US" sz="1837" dirty="0">
              <a:solidFill>
                <a:prstClr val="black"/>
              </a:solidFill>
              <a:latin typeface="Verdana"/>
            </a:endParaRPr>
          </a:p>
          <a:p>
            <a:pPr marL="375007" indent="-375007" defTabSz="5999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837" dirty="0">
                <a:solidFill>
                  <a:prstClr val="black"/>
                </a:solidFill>
                <a:latin typeface="Verdana"/>
              </a:rPr>
              <a:t>№ 82-ФЗ</a:t>
            </a:r>
            <a:r>
              <a:rPr lang="ru-RU" sz="1837" dirty="0">
                <a:solidFill>
                  <a:prstClr val="black"/>
                </a:solidFill>
                <a:latin typeface="Verdana"/>
              </a:rPr>
              <a:t> </a:t>
            </a:r>
            <a:r>
              <a:rPr lang="en-US" sz="1837" dirty="0">
                <a:solidFill>
                  <a:prstClr val="black"/>
                </a:solidFill>
                <a:latin typeface="Verdana"/>
              </a:rPr>
              <a:t>«</a:t>
            </a:r>
            <a:r>
              <a:rPr lang="ru-RU" sz="1837" dirty="0">
                <a:solidFill>
                  <a:prstClr val="black"/>
                </a:solidFill>
                <a:latin typeface="Verdana"/>
              </a:rPr>
              <a:t>Об общественных объединениях»</a:t>
            </a:r>
          </a:p>
          <a:p>
            <a:pPr marL="375007" indent="-375007" defTabSz="5999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837" dirty="0">
                <a:solidFill>
                  <a:prstClr val="black"/>
                </a:solidFill>
                <a:latin typeface="Verdana"/>
              </a:rPr>
              <a:t>№ 38-ФЗ</a:t>
            </a:r>
            <a:r>
              <a:rPr lang="ru-RU" sz="1837" dirty="0">
                <a:solidFill>
                  <a:prstClr val="black"/>
                </a:solidFill>
                <a:latin typeface="Verdana"/>
              </a:rPr>
              <a:t> </a:t>
            </a:r>
            <a:r>
              <a:rPr lang="en-US" sz="1837" dirty="0">
                <a:solidFill>
                  <a:prstClr val="black"/>
                </a:solidFill>
                <a:latin typeface="Verdana"/>
              </a:rPr>
              <a:t>«О</a:t>
            </a:r>
            <a:r>
              <a:rPr lang="ru-RU" sz="1837" dirty="0">
                <a:solidFill>
                  <a:prstClr val="black"/>
                </a:solidFill>
                <a:latin typeface="Verdana"/>
              </a:rPr>
              <a:t> рекламе</a:t>
            </a:r>
            <a:r>
              <a:rPr lang="en-US" sz="1837" dirty="0">
                <a:solidFill>
                  <a:prstClr val="black"/>
                </a:solidFill>
                <a:latin typeface="Verdana"/>
              </a:rPr>
              <a:t>»</a:t>
            </a:r>
            <a:endParaRPr lang="ru-RU" sz="1837" dirty="0">
              <a:solidFill>
                <a:prstClr val="black"/>
              </a:solidFill>
              <a:latin typeface="Verdana"/>
            </a:endParaRPr>
          </a:p>
          <a:p>
            <a:pPr marL="375007" indent="-375007" defTabSz="5999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837" dirty="0">
                <a:solidFill>
                  <a:prstClr val="black"/>
                </a:solidFill>
                <a:latin typeface="Verdana"/>
              </a:rPr>
              <a:t>№ 273-ФЗ</a:t>
            </a:r>
            <a:r>
              <a:rPr lang="ru-RU" sz="1837" dirty="0">
                <a:solidFill>
                  <a:prstClr val="black"/>
                </a:solidFill>
                <a:latin typeface="Verdana"/>
              </a:rPr>
              <a:t> </a:t>
            </a:r>
            <a:r>
              <a:rPr lang="en-US" sz="1837" dirty="0">
                <a:solidFill>
                  <a:prstClr val="black"/>
                </a:solidFill>
                <a:latin typeface="Verdana"/>
              </a:rPr>
              <a:t>«О</a:t>
            </a:r>
            <a:r>
              <a:rPr lang="ru-RU" sz="1837" dirty="0">
                <a:solidFill>
                  <a:prstClr val="black"/>
                </a:solidFill>
                <a:latin typeface="Verdana"/>
              </a:rPr>
              <a:t> противодействии коррупции</a:t>
            </a:r>
            <a:r>
              <a:rPr lang="en-US" sz="1837" dirty="0">
                <a:solidFill>
                  <a:prstClr val="black"/>
                </a:solidFill>
                <a:latin typeface="Verdana"/>
              </a:rPr>
              <a:t>»</a:t>
            </a:r>
            <a:endParaRPr lang="en-US" sz="2625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4603110-BEA1-6A2E-E470-11954B4B5E0F}"/>
              </a:ext>
            </a:extLst>
          </p:cNvPr>
          <p:cNvSpPr txBox="1"/>
          <p:nvPr/>
        </p:nvSpPr>
        <p:spPr>
          <a:xfrm>
            <a:off x="182706" y="4391776"/>
            <a:ext cx="6135449" cy="99174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9997">
              <a:defRPr/>
            </a:pPr>
            <a:r>
              <a:rPr lang="ru-RU" sz="1837" b="1" dirty="0">
                <a:solidFill>
                  <a:prstClr val="black"/>
                </a:solidFill>
                <a:latin typeface="Verdana"/>
              </a:rPr>
              <a:t>Кодексы этики </a:t>
            </a:r>
            <a:r>
              <a:rPr lang="x-none" sz="1837" b="1" dirty="0">
                <a:solidFill>
                  <a:prstClr val="black"/>
                </a:solidFill>
                <a:latin typeface="Verdana"/>
              </a:rPr>
              <a:t>:</a:t>
            </a:r>
            <a:endParaRPr lang="ru-RU" sz="1837" b="1" dirty="0">
              <a:solidFill>
                <a:prstClr val="black"/>
              </a:solidFill>
              <a:latin typeface="Verdana"/>
            </a:endParaRPr>
          </a:p>
          <a:p>
            <a:pPr marL="375007" indent="-375007" defTabSz="599997">
              <a:spcAft>
                <a:spcPts val="394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ru-RU" sz="1837" dirty="0">
                <a:solidFill>
                  <a:prstClr val="black"/>
                </a:solidFill>
                <a:latin typeface="Verdana"/>
              </a:rPr>
              <a:t>Этический кодекс АМФП 2025</a:t>
            </a:r>
          </a:p>
          <a:p>
            <a:pPr marL="375007" indent="-375007" defTabSz="599997">
              <a:spcAft>
                <a:spcPts val="394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ru-RU" sz="1837" dirty="0">
                <a:solidFill>
                  <a:prstClr val="black"/>
                </a:solidFill>
                <a:latin typeface="Verdana"/>
              </a:rPr>
              <a:t>Этический кодекс компании-производителя</a:t>
            </a:r>
            <a:endParaRPr lang="en-US" sz="1837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47440E5-7BA1-4DD3-418B-50E0B5E286D5}"/>
              </a:ext>
            </a:extLst>
          </p:cNvPr>
          <p:cNvSpPr txBox="1"/>
          <p:nvPr/>
        </p:nvSpPr>
        <p:spPr>
          <a:xfrm>
            <a:off x="182707" y="5510764"/>
            <a:ext cx="6627132" cy="15571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9997">
              <a:defRPr/>
            </a:pPr>
            <a:r>
              <a:rPr lang="ru-RU" sz="1837" b="1" dirty="0">
                <a:solidFill>
                  <a:prstClr val="black"/>
                </a:solidFill>
                <a:latin typeface="Verdana"/>
              </a:rPr>
              <a:t>Глобальные операционные процедуры</a:t>
            </a:r>
            <a:r>
              <a:rPr lang="en-US" sz="1837" b="1" dirty="0">
                <a:solidFill>
                  <a:prstClr val="black"/>
                </a:solidFill>
                <a:latin typeface="Verdana"/>
              </a:rPr>
              <a:t> </a:t>
            </a:r>
            <a:r>
              <a:rPr lang="ru-RU" sz="1837" b="1" dirty="0">
                <a:solidFill>
                  <a:prstClr val="black"/>
                </a:solidFill>
                <a:latin typeface="Verdana"/>
              </a:rPr>
              <a:t>(ГОП):</a:t>
            </a:r>
            <a:endParaRPr lang="en-US" sz="1837" b="1" dirty="0">
              <a:solidFill>
                <a:prstClr val="black"/>
              </a:solidFill>
              <a:latin typeface="Verdana"/>
            </a:endParaRPr>
          </a:p>
          <a:p>
            <a:pPr marL="450010" indent="-450010" defTabSz="599997">
              <a:spcAft>
                <a:spcPts val="394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ru-RU" sz="1837" dirty="0">
                <a:solidFill>
                  <a:prstClr val="black"/>
                </a:solidFill>
                <a:latin typeface="Verdana"/>
              </a:rPr>
              <a:t>Благотворительные пожертвования и взносы в здравоохранение</a:t>
            </a:r>
          </a:p>
          <a:p>
            <a:pPr marL="450010" indent="-450010" defTabSz="599997">
              <a:spcAft>
                <a:spcPts val="394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ru-RU" sz="1837" dirty="0">
                <a:solidFill>
                  <a:prstClr val="black"/>
                </a:solidFill>
                <a:latin typeface="Verdana"/>
              </a:rPr>
              <a:t>Взаимодействие с пациентами, защитниками интересов пациентов и ПО</a:t>
            </a:r>
            <a:endParaRPr lang="en-US" sz="1837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0395B4B-A446-DE08-9F8B-9F6EED90580F}"/>
              </a:ext>
            </a:extLst>
          </p:cNvPr>
          <p:cNvSpPr txBox="1"/>
          <p:nvPr/>
        </p:nvSpPr>
        <p:spPr>
          <a:xfrm>
            <a:off x="182706" y="7220073"/>
            <a:ext cx="6259762" cy="6577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9997">
              <a:defRPr/>
            </a:pPr>
            <a:r>
              <a:rPr lang="ru-RU" sz="1837" b="1" dirty="0">
                <a:solidFill>
                  <a:prstClr val="black"/>
                </a:solidFill>
                <a:latin typeface="Verdana"/>
              </a:rPr>
              <a:t>Интегрированная стратегия взаимодействия с ПО </a:t>
            </a:r>
            <a:r>
              <a:rPr lang="en-US" sz="1837" b="1" dirty="0">
                <a:solidFill>
                  <a:prstClr val="black"/>
                </a:solidFill>
                <a:latin typeface="Verdana"/>
              </a:rPr>
              <a:t>(IPE)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EEC39AA-5450-19F6-B470-763B81E18E4C}"/>
              </a:ext>
            </a:extLst>
          </p:cNvPr>
          <p:cNvGrpSpPr/>
          <p:nvPr/>
        </p:nvGrpSpPr>
        <p:grpSpPr>
          <a:xfrm>
            <a:off x="6961087" y="2638367"/>
            <a:ext cx="8556085" cy="657974"/>
            <a:chOff x="5100673" y="1819350"/>
            <a:chExt cx="6520072" cy="501401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C1003DD-31BE-D20D-9D11-58BF440811E5}"/>
                </a:ext>
              </a:extLst>
            </p:cNvPr>
            <p:cNvSpPr/>
            <p:nvPr/>
          </p:nvSpPr>
          <p:spPr>
            <a:xfrm>
              <a:off x="5100673" y="1819350"/>
              <a:ext cx="6495757" cy="501401"/>
            </a:xfrm>
            <a:prstGeom prst="rect">
              <a:avLst/>
            </a:prstGeom>
            <a:ln>
              <a:extLst>
                <a:ext uri="{C807C97D-BFC1-408E-A445-0C87EB9F89A2}">
                  <ask:lineSketchStyleProps xmlns:ask="http://schemas.microsoft.com/office/drawing/2018/sketchyshapes" xmlns="" sd="1218447764">
                    <a:custGeom>
                      <a:avLst/>
                      <a:gdLst>
                        <a:gd name="csX0" fmla="*/ 0 w 6495757"/>
                        <a:gd name="csY0" fmla="*/ 0 h 501401"/>
                        <a:gd name="csX1" fmla="*/ 779491 w 6495757"/>
                        <a:gd name="csY1" fmla="*/ 0 h 501401"/>
                        <a:gd name="csX2" fmla="*/ 1429067 w 6495757"/>
                        <a:gd name="csY2" fmla="*/ 0 h 501401"/>
                        <a:gd name="csX3" fmla="*/ 1948727 w 6495757"/>
                        <a:gd name="csY3" fmla="*/ 0 h 501401"/>
                        <a:gd name="csX4" fmla="*/ 2533345 w 6495757"/>
                        <a:gd name="csY4" fmla="*/ 0 h 501401"/>
                        <a:gd name="csX5" fmla="*/ 3312836 w 6495757"/>
                        <a:gd name="csY5" fmla="*/ 0 h 501401"/>
                        <a:gd name="csX6" fmla="*/ 3962412 w 6495757"/>
                        <a:gd name="csY6" fmla="*/ 0 h 501401"/>
                        <a:gd name="csX7" fmla="*/ 4741903 w 6495757"/>
                        <a:gd name="csY7" fmla="*/ 0 h 501401"/>
                        <a:gd name="csX8" fmla="*/ 5456436 w 6495757"/>
                        <a:gd name="csY8" fmla="*/ 0 h 501401"/>
                        <a:gd name="csX9" fmla="*/ 6495757 w 6495757"/>
                        <a:gd name="csY9" fmla="*/ 0 h 501401"/>
                        <a:gd name="csX10" fmla="*/ 6495757 w 6495757"/>
                        <a:gd name="csY10" fmla="*/ 501401 h 501401"/>
                        <a:gd name="csX11" fmla="*/ 5846181 w 6495757"/>
                        <a:gd name="csY11" fmla="*/ 501401 h 501401"/>
                        <a:gd name="csX12" fmla="*/ 5326521 w 6495757"/>
                        <a:gd name="csY12" fmla="*/ 501401 h 501401"/>
                        <a:gd name="csX13" fmla="*/ 4676945 w 6495757"/>
                        <a:gd name="csY13" fmla="*/ 501401 h 501401"/>
                        <a:gd name="csX14" fmla="*/ 4027369 w 6495757"/>
                        <a:gd name="csY14" fmla="*/ 501401 h 501401"/>
                        <a:gd name="csX15" fmla="*/ 3572666 w 6495757"/>
                        <a:gd name="csY15" fmla="*/ 501401 h 501401"/>
                        <a:gd name="csX16" fmla="*/ 2793176 w 6495757"/>
                        <a:gd name="csY16" fmla="*/ 501401 h 501401"/>
                        <a:gd name="csX17" fmla="*/ 2143600 w 6495757"/>
                        <a:gd name="csY17" fmla="*/ 501401 h 501401"/>
                        <a:gd name="csX18" fmla="*/ 1623939 w 6495757"/>
                        <a:gd name="csY18" fmla="*/ 501401 h 501401"/>
                        <a:gd name="csX19" fmla="*/ 1039321 w 6495757"/>
                        <a:gd name="csY19" fmla="*/ 501401 h 501401"/>
                        <a:gd name="csX20" fmla="*/ 0 w 6495757"/>
                        <a:gd name="csY20" fmla="*/ 501401 h 501401"/>
                        <a:gd name="csX21" fmla="*/ 0 w 6495757"/>
                        <a:gd name="csY21" fmla="*/ 0 h 501401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</a:cxnLst>
                      <a:rect l="l" t="t" r="r" b="b"/>
                      <a:pathLst>
                        <a:path w="6495757" h="501401" fill="none" extrusionOk="0">
                          <a:moveTo>
                            <a:pt x="0" y="0"/>
                          </a:moveTo>
                          <a:cubicBezTo>
                            <a:pt x="278589" y="38677"/>
                            <a:pt x="439823" y="961"/>
                            <a:pt x="779491" y="0"/>
                          </a:cubicBezTo>
                          <a:cubicBezTo>
                            <a:pt x="1119159" y="-961"/>
                            <a:pt x="1244713" y="12897"/>
                            <a:pt x="1429067" y="0"/>
                          </a:cubicBezTo>
                          <a:cubicBezTo>
                            <a:pt x="1613421" y="-12897"/>
                            <a:pt x="1700446" y="16176"/>
                            <a:pt x="1948727" y="0"/>
                          </a:cubicBezTo>
                          <a:cubicBezTo>
                            <a:pt x="2197008" y="-16176"/>
                            <a:pt x="2295571" y="-16833"/>
                            <a:pt x="2533345" y="0"/>
                          </a:cubicBezTo>
                          <a:cubicBezTo>
                            <a:pt x="2771119" y="16833"/>
                            <a:pt x="2963065" y="6326"/>
                            <a:pt x="3312836" y="0"/>
                          </a:cubicBezTo>
                          <a:cubicBezTo>
                            <a:pt x="3662607" y="-6326"/>
                            <a:pt x="3672094" y="8840"/>
                            <a:pt x="3962412" y="0"/>
                          </a:cubicBezTo>
                          <a:cubicBezTo>
                            <a:pt x="4252730" y="-8840"/>
                            <a:pt x="4541311" y="-10588"/>
                            <a:pt x="4741903" y="0"/>
                          </a:cubicBezTo>
                          <a:cubicBezTo>
                            <a:pt x="4942495" y="10588"/>
                            <a:pt x="5229899" y="-491"/>
                            <a:pt x="5456436" y="0"/>
                          </a:cubicBezTo>
                          <a:cubicBezTo>
                            <a:pt x="5682973" y="491"/>
                            <a:pt x="6060454" y="-45860"/>
                            <a:pt x="6495757" y="0"/>
                          </a:cubicBezTo>
                          <a:cubicBezTo>
                            <a:pt x="6499253" y="108211"/>
                            <a:pt x="6502258" y="399680"/>
                            <a:pt x="6495757" y="501401"/>
                          </a:cubicBezTo>
                          <a:cubicBezTo>
                            <a:pt x="6273778" y="469918"/>
                            <a:pt x="6038570" y="478097"/>
                            <a:pt x="5846181" y="501401"/>
                          </a:cubicBezTo>
                          <a:cubicBezTo>
                            <a:pt x="5653792" y="524705"/>
                            <a:pt x="5483328" y="526616"/>
                            <a:pt x="5326521" y="501401"/>
                          </a:cubicBezTo>
                          <a:cubicBezTo>
                            <a:pt x="5169714" y="476186"/>
                            <a:pt x="4907434" y="497012"/>
                            <a:pt x="4676945" y="501401"/>
                          </a:cubicBezTo>
                          <a:cubicBezTo>
                            <a:pt x="4446456" y="505790"/>
                            <a:pt x="4201087" y="509470"/>
                            <a:pt x="4027369" y="501401"/>
                          </a:cubicBezTo>
                          <a:cubicBezTo>
                            <a:pt x="3853651" y="493332"/>
                            <a:pt x="3768860" y="516559"/>
                            <a:pt x="3572666" y="501401"/>
                          </a:cubicBezTo>
                          <a:cubicBezTo>
                            <a:pt x="3376472" y="486243"/>
                            <a:pt x="3066226" y="513859"/>
                            <a:pt x="2793176" y="501401"/>
                          </a:cubicBezTo>
                          <a:cubicBezTo>
                            <a:pt x="2520126" y="488944"/>
                            <a:pt x="2350787" y="500687"/>
                            <a:pt x="2143600" y="501401"/>
                          </a:cubicBezTo>
                          <a:cubicBezTo>
                            <a:pt x="1936413" y="502115"/>
                            <a:pt x="1782308" y="521939"/>
                            <a:pt x="1623939" y="501401"/>
                          </a:cubicBezTo>
                          <a:cubicBezTo>
                            <a:pt x="1465570" y="480863"/>
                            <a:pt x="1191937" y="504203"/>
                            <a:pt x="1039321" y="501401"/>
                          </a:cubicBezTo>
                          <a:cubicBezTo>
                            <a:pt x="886705" y="498599"/>
                            <a:pt x="301435" y="449985"/>
                            <a:pt x="0" y="501401"/>
                          </a:cubicBezTo>
                          <a:cubicBezTo>
                            <a:pt x="-13365" y="276290"/>
                            <a:pt x="-18475" y="227457"/>
                            <a:pt x="0" y="0"/>
                          </a:cubicBezTo>
                          <a:close/>
                        </a:path>
                        <a:path w="6495757" h="501401" stroke="0" extrusionOk="0">
                          <a:moveTo>
                            <a:pt x="0" y="0"/>
                          </a:moveTo>
                          <a:cubicBezTo>
                            <a:pt x="287806" y="-21756"/>
                            <a:pt x="341176" y="-16580"/>
                            <a:pt x="584618" y="0"/>
                          </a:cubicBezTo>
                          <a:cubicBezTo>
                            <a:pt x="828060" y="16580"/>
                            <a:pt x="983155" y="30773"/>
                            <a:pt x="1364109" y="0"/>
                          </a:cubicBezTo>
                          <a:cubicBezTo>
                            <a:pt x="1745063" y="-30773"/>
                            <a:pt x="1802636" y="22850"/>
                            <a:pt x="2143600" y="0"/>
                          </a:cubicBezTo>
                          <a:cubicBezTo>
                            <a:pt x="2484564" y="-22850"/>
                            <a:pt x="2510410" y="-8838"/>
                            <a:pt x="2663260" y="0"/>
                          </a:cubicBezTo>
                          <a:cubicBezTo>
                            <a:pt x="2816110" y="8838"/>
                            <a:pt x="3000499" y="24228"/>
                            <a:pt x="3182921" y="0"/>
                          </a:cubicBezTo>
                          <a:cubicBezTo>
                            <a:pt x="3365343" y="-24228"/>
                            <a:pt x="3644847" y="-7959"/>
                            <a:pt x="3962412" y="0"/>
                          </a:cubicBezTo>
                          <a:cubicBezTo>
                            <a:pt x="4279977" y="7959"/>
                            <a:pt x="4271778" y="-21139"/>
                            <a:pt x="4417115" y="0"/>
                          </a:cubicBezTo>
                          <a:cubicBezTo>
                            <a:pt x="4562452" y="21139"/>
                            <a:pt x="4844509" y="21060"/>
                            <a:pt x="5196606" y="0"/>
                          </a:cubicBezTo>
                          <a:cubicBezTo>
                            <a:pt x="5548703" y="-21060"/>
                            <a:pt x="5554041" y="-21142"/>
                            <a:pt x="5651309" y="0"/>
                          </a:cubicBezTo>
                          <a:cubicBezTo>
                            <a:pt x="5748577" y="21142"/>
                            <a:pt x="6115957" y="26294"/>
                            <a:pt x="6495757" y="0"/>
                          </a:cubicBezTo>
                          <a:cubicBezTo>
                            <a:pt x="6482120" y="112315"/>
                            <a:pt x="6505242" y="346877"/>
                            <a:pt x="6495757" y="501401"/>
                          </a:cubicBezTo>
                          <a:cubicBezTo>
                            <a:pt x="6353625" y="507745"/>
                            <a:pt x="6229612" y="502070"/>
                            <a:pt x="6041054" y="501401"/>
                          </a:cubicBezTo>
                          <a:cubicBezTo>
                            <a:pt x="5852496" y="500732"/>
                            <a:pt x="5487066" y="500974"/>
                            <a:pt x="5326521" y="501401"/>
                          </a:cubicBezTo>
                          <a:cubicBezTo>
                            <a:pt x="5165976" y="501828"/>
                            <a:pt x="4752530" y="491481"/>
                            <a:pt x="4547030" y="501401"/>
                          </a:cubicBezTo>
                          <a:cubicBezTo>
                            <a:pt x="4341530" y="511321"/>
                            <a:pt x="4052051" y="491671"/>
                            <a:pt x="3767539" y="501401"/>
                          </a:cubicBezTo>
                          <a:cubicBezTo>
                            <a:pt x="3483027" y="511131"/>
                            <a:pt x="3350109" y="505855"/>
                            <a:pt x="2988048" y="501401"/>
                          </a:cubicBezTo>
                          <a:cubicBezTo>
                            <a:pt x="2625987" y="496947"/>
                            <a:pt x="2708415" y="515070"/>
                            <a:pt x="2533345" y="501401"/>
                          </a:cubicBezTo>
                          <a:cubicBezTo>
                            <a:pt x="2358275" y="487732"/>
                            <a:pt x="1968475" y="498938"/>
                            <a:pt x="1753854" y="501401"/>
                          </a:cubicBezTo>
                          <a:cubicBezTo>
                            <a:pt x="1539233" y="503864"/>
                            <a:pt x="1242856" y="510914"/>
                            <a:pt x="974364" y="501401"/>
                          </a:cubicBezTo>
                          <a:cubicBezTo>
                            <a:pt x="705872" y="491889"/>
                            <a:pt x="331695" y="486930"/>
                            <a:pt x="0" y="501401"/>
                          </a:cubicBezTo>
                          <a:cubicBezTo>
                            <a:pt x="23057" y="397928"/>
                            <a:pt x="7382" y="197237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99997">
                <a:defRPr/>
              </a:pPr>
              <a:endParaRPr lang="ru-RU" sz="2362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F41281A-B7E8-7EDE-A69A-1DDBF0BB2627}"/>
                </a:ext>
              </a:extLst>
            </p:cNvPr>
            <p:cNvSpPr txBox="1"/>
            <p:nvPr/>
          </p:nvSpPr>
          <p:spPr>
            <a:xfrm>
              <a:off x="5144610" y="1904974"/>
              <a:ext cx="6476135" cy="3781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99997">
                <a:defRPr/>
              </a:pPr>
              <a:r>
                <a:rPr lang="ru-RU" sz="2625" dirty="0">
                  <a:solidFill>
                    <a:srgbClr val="F5F5F5">
                      <a:lumMod val="10000"/>
                    </a:srgbClr>
                  </a:solidFill>
                  <a:latin typeface="Verdana"/>
                </a:rPr>
                <a:t>Фокус на потребностях пациентов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342AAF0-2016-A2DA-B968-0B492871A0A6}"/>
              </a:ext>
            </a:extLst>
          </p:cNvPr>
          <p:cNvGrpSpPr/>
          <p:nvPr/>
        </p:nvGrpSpPr>
        <p:grpSpPr>
          <a:xfrm>
            <a:off x="6961087" y="4160866"/>
            <a:ext cx="8556085" cy="684034"/>
            <a:chOff x="5090777" y="2430917"/>
            <a:chExt cx="6520072" cy="52126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54539BA-34A4-FABC-D2F9-987FA545E871}"/>
                </a:ext>
              </a:extLst>
            </p:cNvPr>
            <p:cNvSpPr/>
            <p:nvPr/>
          </p:nvSpPr>
          <p:spPr>
            <a:xfrm>
              <a:off x="5090777" y="2430917"/>
              <a:ext cx="6505653" cy="521261"/>
            </a:xfrm>
            <a:prstGeom prst="rect">
              <a:avLst/>
            </a:prstGeom>
            <a:ln>
              <a:extLst>
                <a:ext uri="{C807C97D-BFC1-408E-A445-0C87EB9F89A2}">
                  <ask:lineSketchStyleProps xmlns:ask="http://schemas.microsoft.com/office/drawing/2018/sketchyshapes" xmlns="" sd="1218447764">
                    <a:custGeom>
                      <a:avLst/>
                      <a:gdLst>
                        <a:gd name="csX0" fmla="*/ 0 w 6505653"/>
                        <a:gd name="csY0" fmla="*/ 0 h 521261"/>
                        <a:gd name="csX1" fmla="*/ 780678 w 6505653"/>
                        <a:gd name="csY1" fmla="*/ 0 h 521261"/>
                        <a:gd name="csX2" fmla="*/ 1431244 w 6505653"/>
                        <a:gd name="csY2" fmla="*/ 0 h 521261"/>
                        <a:gd name="csX3" fmla="*/ 1951696 w 6505653"/>
                        <a:gd name="csY3" fmla="*/ 0 h 521261"/>
                        <a:gd name="csX4" fmla="*/ 2537205 w 6505653"/>
                        <a:gd name="csY4" fmla="*/ 0 h 521261"/>
                        <a:gd name="csX5" fmla="*/ 3317883 w 6505653"/>
                        <a:gd name="csY5" fmla="*/ 0 h 521261"/>
                        <a:gd name="csX6" fmla="*/ 3968448 w 6505653"/>
                        <a:gd name="csY6" fmla="*/ 0 h 521261"/>
                        <a:gd name="csX7" fmla="*/ 4749127 w 6505653"/>
                        <a:gd name="csY7" fmla="*/ 0 h 521261"/>
                        <a:gd name="csX8" fmla="*/ 5464749 w 6505653"/>
                        <a:gd name="csY8" fmla="*/ 0 h 521261"/>
                        <a:gd name="csX9" fmla="*/ 6505653 w 6505653"/>
                        <a:gd name="csY9" fmla="*/ 0 h 521261"/>
                        <a:gd name="csX10" fmla="*/ 6505653 w 6505653"/>
                        <a:gd name="csY10" fmla="*/ 521261 h 521261"/>
                        <a:gd name="csX11" fmla="*/ 5855088 w 6505653"/>
                        <a:gd name="csY11" fmla="*/ 521261 h 521261"/>
                        <a:gd name="csX12" fmla="*/ 5334635 w 6505653"/>
                        <a:gd name="csY12" fmla="*/ 521261 h 521261"/>
                        <a:gd name="csX13" fmla="*/ 4684070 w 6505653"/>
                        <a:gd name="csY13" fmla="*/ 521261 h 521261"/>
                        <a:gd name="csX14" fmla="*/ 4033505 w 6505653"/>
                        <a:gd name="csY14" fmla="*/ 521261 h 521261"/>
                        <a:gd name="csX15" fmla="*/ 3578109 w 6505653"/>
                        <a:gd name="csY15" fmla="*/ 521261 h 521261"/>
                        <a:gd name="csX16" fmla="*/ 2797431 w 6505653"/>
                        <a:gd name="csY16" fmla="*/ 521261 h 521261"/>
                        <a:gd name="csX17" fmla="*/ 2146865 w 6505653"/>
                        <a:gd name="csY17" fmla="*/ 521261 h 521261"/>
                        <a:gd name="csX18" fmla="*/ 1626413 w 6505653"/>
                        <a:gd name="csY18" fmla="*/ 521261 h 521261"/>
                        <a:gd name="csX19" fmla="*/ 1040904 w 6505653"/>
                        <a:gd name="csY19" fmla="*/ 521261 h 521261"/>
                        <a:gd name="csX20" fmla="*/ 0 w 6505653"/>
                        <a:gd name="csY20" fmla="*/ 521261 h 521261"/>
                        <a:gd name="csX21" fmla="*/ 0 w 6505653"/>
                        <a:gd name="csY21" fmla="*/ 0 h 521261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</a:cxnLst>
                      <a:rect l="l" t="t" r="r" b="b"/>
                      <a:pathLst>
                        <a:path w="6505653" h="521261" fill="none" extrusionOk="0">
                          <a:moveTo>
                            <a:pt x="0" y="0"/>
                          </a:moveTo>
                          <a:cubicBezTo>
                            <a:pt x="199639" y="30008"/>
                            <a:pt x="614498" y="15725"/>
                            <a:pt x="780678" y="0"/>
                          </a:cubicBezTo>
                          <a:cubicBezTo>
                            <a:pt x="946858" y="-15725"/>
                            <a:pt x="1292881" y="-31855"/>
                            <a:pt x="1431244" y="0"/>
                          </a:cubicBezTo>
                          <a:cubicBezTo>
                            <a:pt x="1569607" y="31855"/>
                            <a:pt x="1716135" y="-14147"/>
                            <a:pt x="1951696" y="0"/>
                          </a:cubicBezTo>
                          <a:cubicBezTo>
                            <a:pt x="2187257" y="14147"/>
                            <a:pt x="2400009" y="-14883"/>
                            <a:pt x="2537205" y="0"/>
                          </a:cubicBezTo>
                          <a:cubicBezTo>
                            <a:pt x="2674401" y="14883"/>
                            <a:pt x="3016171" y="-7240"/>
                            <a:pt x="3317883" y="0"/>
                          </a:cubicBezTo>
                          <a:cubicBezTo>
                            <a:pt x="3619595" y="7240"/>
                            <a:pt x="3699687" y="30018"/>
                            <a:pt x="3968448" y="0"/>
                          </a:cubicBezTo>
                          <a:cubicBezTo>
                            <a:pt x="4237209" y="-30018"/>
                            <a:pt x="4564079" y="1954"/>
                            <a:pt x="4749127" y="0"/>
                          </a:cubicBezTo>
                          <a:cubicBezTo>
                            <a:pt x="4934175" y="-1954"/>
                            <a:pt x="5195288" y="-28477"/>
                            <a:pt x="5464749" y="0"/>
                          </a:cubicBezTo>
                          <a:cubicBezTo>
                            <a:pt x="5734210" y="28477"/>
                            <a:pt x="6175079" y="-34482"/>
                            <a:pt x="6505653" y="0"/>
                          </a:cubicBezTo>
                          <a:cubicBezTo>
                            <a:pt x="6496668" y="127773"/>
                            <a:pt x="6527974" y="336385"/>
                            <a:pt x="6505653" y="521261"/>
                          </a:cubicBezTo>
                          <a:cubicBezTo>
                            <a:pt x="6260129" y="544833"/>
                            <a:pt x="6116742" y="541003"/>
                            <a:pt x="5855088" y="521261"/>
                          </a:cubicBezTo>
                          <a:cubicBezTo>
                            <a:pt x="5593434" y="501519"/>
                            <a:pt x="5537366" y="504251"/>
                            <a:pt x="5334635" y="521261"/>
                          </a:cubicBezTo>
                          <a:cubicBezTo>
                            <a:pt x="5131904" y="538271"/>
                            <a:pt x="4826025" y="504159"/>
                            <a:pt x="4684070" y="521261"/>
                          </a:cubicBezTo>
                          <a:cubicBezTo>
                            <a:pt x="4542116" y="538363"/>
                            <a:pt x="4174604" y="489199"/>
                            <a:pt x="4033505" y="521261"/>
                          </a:cubicBezTo>
                          <a:cubicBezTo>
                            <a:pt x="3892407" y="553323"/>
                            <a:pt x="3750895" y="524183"/>
                            <a:pt x="3578109" y="521261"/>
                          </a:cubicBezTo>
                          <a:cubicBezTo>
                            <a:pt x="3405323" y="518339"/>
                            <a:pt x="2991725" y="500687"/>
                            <a:pt x="2797431" y="521261"/>
                          </a:cubicBezTo>
                          <a:cubicBezTo>
                            <a:pt x="2603137" y="541835"/>
                            <a:pt x="2379345" y="500115"/>
                            <a:pt x="2146865" y="521261"/>
                          </a:cubicBezTo>
                          <a:cubicBezTo>
                            <a:pt x="1914385" y="542407"/>
                            <a:pt x="1874362" y="521398"/>
                            <a:pt x="1626413" y="521261"/>
                          </a:cubicBezTo>
                          <a:cubicBezTo>
                            <a:pt x="1378464" y="521124"/>
                            <a:pt x="1325223" y="536925"/>
                            <a:pt x="1040904" y="521261"/>
                          </a:cubicBezTo>
                          <a:cubicBezTo>
                            <a:pt x="756585" y="505597"/>
                            <a:pt x="411513" y="551803"/>
                            <a:pt x="0" y="521261"/>
                          </a:cubicBezTo>
                          <a:cubicBezTo>
                            <a:pt x="-25914" y="299036"/>
                            <a:pt x="25915" y="195892"/>
                            <a:pt x="0" y="0"/>
                          </a:cubicBezTo>
                          <a:close/>
                        </a:path>
                        <a:path w="6505653" h="521261" stroke="0" extrusionOk="0">
                          <a:moveTo>
                            <a:pt x="0" y="0"/>
                          </a:moveTo>
                          <a:cubicBezTo>
                            <a:pt x="289492" y="6728"/>
                            <a:pt x="307436" y="9625"/>
                            <a:pt x="585509" y="0"/>
                          </a:cubicBezTo>
                          <a:cubicBezTo>
                            <a:pt x="863582" y="-9625"/>
                            <a:pt x="1142860" y="15808"/>
                            <a:pt x="1366187" y="0"/>
                          </a:cubicBezTo>
                          <a:cubicBezTo>
                            <a:pt x="1589514" y="-15808"/>
                            <a:pt x="1948406" y="19149"/>
                            <a:pt x="2146865" y="0"/>
                          </a:cubicBezTo>
                          <a:cubicBezTo>
                            <a:pt x="2345324" y="-19149"/>
                            <a:pt x="2436473" y="-17336"/>
                            <a:pt x="2667318" y="0"/>
                          </a:cubicBezTo>
                          <a:cubicBezTo>
                            <a:pt x="2898163" y="17336"/>
                            <a:pt x="3009820" y="-4555"/>
                            <a:pt x="3187770" y="0"/>
                          </a:cubicBezTo>
                          <a:cubicBezTo>
                            <a:pt x="3365720" y="4555"/>
                            <a:pt x="3690121" y="-6007"/>
                            <a:pt x="3968448" y="0"/>
                          </a:cubicBezTo>
                          <a:cubicBezTo>
                            <a:pt x="4246775" y="6007"/>
                            <a:pt x="4311661" y="-12994"/>
                            <a:pt x="4423844" y="0"/>
                          </a:cubicBezTo>
                          <a:cubicBezTo>
                            <a:pt x="4536027" y="12994"/>
                            <a:pt x="4974085" y="-21956"/>
                            <a:pt x="5204522" y="0"/>
                          </a:cubicBezTo>
                          <a:cubicBezTo>
                            <a:pt x="5434959" y="21956"/>
                            <a:pt x="5532984" y="11566"/>
                            <a:pt x="5659918" y="0"/>
                          </a:cubicBezTo>
                          <a:cubicBezTo>
                            <a:pt x="5786852" y="-11566"/>
                            <a:pt x="6196492" y="-38090"/>
                            <a:pt x="6505653" y="0"/>
                          </a:cubicBezTo>
                          <a:cubicBezTo>
                            <a:pt x="6497144" y="222619"/>
                            <a:pt x="6496592" y="284460"/>
                            <a:pt x="6505653" y="521261"/>
                          </a:cubicBezTo>
                          <a:cubicBezTo>
                            <a:pt x="6283967" y="535691"/>
                            <a:pt x="6165566" y="540056"/>
                            <a:pt x="6050257" y="521261"/>
                          </a:cubicBezTo>
                          <a:cubicBezTo>
                            <a:pt x="5934948" y="502466"/>
                            <a:pt x="5486264" y="555450"/>
                            <a:pt x="5334635" y="521261"/>
                          </a:cubicBezTo>
                          <a:cubicBezTo>
                            <a:pt x="5183006" y="487072"/>
                            <a:pt x="4803328" y="496782"/>
                            <a:pt x="4553957" y="521261"/>
                          </a:cubicBezTo>
                          <a:cubicBezTo>
                            <a:pt x="4304586" y="545740"/>
                            <a:pt x="4021457" y="531657"/>
                            <a:pt x="3773279" y="521261"/>
                          </a:cubicBezTo>
                          <a:cubicBezTo>
                            <a:pt x="3525101" y="510865"/>
                            <a:pt x="3160568" y="489562"/>
                            <a:pt x="2992600" y="521261"/>
                          </a:cubicBezTo>
                          <a:cubicBezTo>
                            <a:pt x="2824632" y="552960"/>
                            <a:pt x="2716098" y="507673"/>
                            <a:pt x="2537205" y="521261"/>
                          </a:cubicBezTo>
                          <a:cubicBezTo>
                            <a:pt x="2358313" y="534849"/>
                            <a:pt x="2046542" y="532247"/>
                            <a:pt x="1756526" y="521261"/>
                          </a:cubicBezTo>
                          <a:cubicBezTo>
                            <a:pt x="1466510" y="510275"/>
                            <a:pt x="1185930" y="490101"/>
                            <a:pt x="975848" y="521261"/>
                          </a:cubicBezTo>
                          <a:cubicBezTo>
                            <a:pt x="765766" y="552421"/>
                            <a:pt x="367989" y="541017"/>
                            <a:pt x="0" y="521261"/>
                          </a:cubicBezTo>
                          <a:cubicBezTo>
                            <a:pt x="-13232" y="300273"/>
                            <a:pt x="-1510" y="255245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99997">
                <a:defRPr/>
              </a:pPr>
              <a:endParaRPr lang="ru-RU" sz="2362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387C6B4-F941-0E1A-8611-4619461DE309}"/>
                </a:ext>
              </a:extLst>
            </p:cNvPr>
            <p:cNvSpPr txBox="1"/>
            <p:nvPr/>
          </p:nvSpPr>
          <p:spPr>
            <a:xfrm>
              <a:off x="5134714" y="2487514"/>
              <a:ext cx="6476135" cy="37819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99997">
                <a:defRPr/>
              </a:pPr>
              <a:r>
                <a:rPr lang="ru-RU" sz="2625" dirty="0">
                  <a:solidFill>
                    <a:srgbClr val="F5F5F5">
                      <a:lumMod val="10000"/>
                    </a:srgbClr>
                  </a:solidFill>
                  <a:latin typeface="Verdana"/>
                </a:rPr>
                <a:t>Доверие и независимость партнеров</a:t>
              </a: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636A09BB-2F9F-EB2B-9557-F7792DC819A4}"/>
              </a:ext>
            </a:extLst>
          </p:cNvPr>
          <p:cNvSpPr/>
          <p:nvPr/>
        </p:nvSpPr>
        <p:spPr>
          <a:xfrm>
            <a:off x="6961087" y="5847855"/>
            <a:ext cx="8563137" cy="612195"/>
          </a:xfrm>
          <a:prstGeom prst="rect">
            <a:avLst/>
          </a:prstGeom>
          <a:ln>
            <a:extLst>
              <a:ext uri="{C807C97D-BFC1-408E-A445-0C87EB9F89A2}">
                <ask:lineSketchStyleProps xmlns:ask="http://schemas.microsoft.com/office/drawing/2018/sketchyshapes" xmlns="" sd="1218447764">
                  <a:custGeom>
                    <a:avLst/>
                    <a:gdLst>
                      <a:gd name="csX0" fmla="*/ 0 w 6525445"/>
                      <a:gd name="csY0" fmla="*/ 0 h 466517"/>
                      <a:gd name="csX1" fmla="*/ 783053 w 6525445"/>
                      <a:gd name="csY1" fmla="*/ 0 h 466517"/>
                      <a:gd name="csX2" fmla="*/ 1435598 w 6525445"/>
                      <a:gd name="csY2" fmla="*/ 0 h 466517"/>
                      <a:gd name="csX3" fmla="*/ 1957634 w 6525445"/>
                      <a:gd name="csY3" fmla="*/ 0 h 466517"/>
                      <a:gd name="csX4" fmla="*/ 2544924 w 6525445"/>
                      <a:gd name="csY4" fmla="*/ 0 h 466517"/>
                      <a:gd name="csX5" fmla="*/ 3327977 w 6525445"/>
                      <a:gd name="csY5" fmla="*/ 0 h 466517"/>
                      <a:gd name="csX6" fmla="*/ 3980521 w 6525445"/>
                      <a:gd name="csY6" fmla="*/ 0 h 466517"/>
                      <a:gd name="csX7" fmla="*/ 4763575 w 6525445"/>
                      <a:gd name="csY7" fmla="*/ 0 h 466517"/>
                      <a:gd name="csX8" fmla="*/ 5481374 w 6525445"/>
                      <a:gd name="csY8" fmla="*/ 0 h 466517"/>
                      <a:gd name="csX9" fmla="*/ 6525445 w 6525445"/>
                      <a:gd name="csY9" fmla="*/ 0 h 466517"/>
                      <a:gd name="csX10" fmla="*/ 6525445 w 6525445"/>
                      <a:gd name="csY10" fmla="*/ 466517 h 466517"/>
                      <a:gd name="csX11" fmla="*/ 5872901 w 6525445"/>
                      <a:gd name="csY11" fmla="*/ 466517 h 466517"/>
                      <a:gd name="csX12" fmla="*/ 5350865 w 6525445"/>
                      <a:gd name="csY12" fmla="*/ 466517 h 466517"/>
                      <a:gd name="csX13" fmla="*/ 4698320 w 6525445"/>
                      <a:gd name="csY13" fmla="*/ 466517 h 466517"/>
                      <a:gd name="csX14" fmla="*/ 4045776 w 6525445"/>
                      <a:gd name="csY14" fmla="*/ 466517 h 466517"/>
                      <a:gd name="csX15" fmla="*/ 3588995 w 6525445"/>
                      <a:gd name="csY15" fmla="*/ 466517 h 466517"/>
                      <a:gd name="csX16" fmla="*/ 2805941 w 6525445"/>
                      <a:gd name="csY16" fmla="*/ 466517 h 466517"/>
                      <a:gd name="csX17" fmla="*/ 2153397 w 6525445"/>
                      <a:gd name="csY17" fmla="*/ 466517 h 466517"/>
                      <a:gd name="csX18" fmla="*/ 1631361 w 6525445"/>
                      <a:gd name="csY18" fmla="*/ 466517 h 466517"/>
                      <a:gd name="csX19" fmla="*/ 1044071 w 6525445"/>
                      <a:gd name="csY19" fmla="*/ 466517 h 466517"/>
                      <a:gd name="csX20" fmla="*/ 0 w 6525445"/>
                      <a:gd name="csY20" fmla="*/ 466517 h 466517"/>
                      <a:gd name="csX21" fmla="*/ 0 w 6525445"/>
                      <a:gd name="csY21" fmla="*/ 0 h 46651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6525445" h="466517" fill="none" extrusionOk="0">
                        <a:moveTo>
                          <a:pt x="0" y="0"/>
                        </a:moveTo>
                        <a:cubicBezTo>
                          <a:pt x="323155" y="-24898"/>
                          <a:pt x="532965" y="589"/>
                          <a:pt x="783053" y="0"/>
                        </a:cubicBezTo>
                        <a:cubicBezTo>
                          <a:pt x="1033141" y="-589"/>
                          <a:pt x="1242863" y="8564"/>
                          <a:pt x="1435598" y="0"/>
                        </a:cubicBezTo>
                        <a:cubicBezTo>
                          <a:pt x="1628334" y="-8564"/>
                          <a:pt x="1800260" y="-16886"/>
                          <a:pt x="1957634" y="0"/>
                        </a:cubicBezTo>
                        <a:cubicBezTo>
                          <a:pt x="2115008" y="16886"/>
                          <a:pt x="2306795" y="-6715"/>
                          <a:pt x="2544924" y="0"/>
                        </a:cubicBezTo>
                        <a:cubicBezTo>
                          <a:pt x="2783053" y="6715"/>
                          <a:pt x="3168989" y="-28563"/>
                          <a:pt x="3327977" y="0"/>
                        </a:cubicBezTo>
                        <a:cubicBezTo>
                          <a:pt x="3486965" y="28563"/>
                          <a:pt x="3800824" y="29314"/>
                          <a:pt x="3980521" y="0"/>
                        </a:cubicBezTo>
                        <a:cubicBezTo>
                          <a:pt x="4160218" y="-29314"/>
                          <a:pt x="4379353" y="-22483"/>
                          <a:pt x="4763575" y="0"/>
                        </a:cubicBezTo>
                        <a:cubicBezTo>
                          <a:pt x="5147797" y="22483"/>
                          <a:pt x="5130417" y="11078"/>
                          <a:pt x="5481374" y="0"/>
                        </a:cubicBezTo>
                        <a:cubicBezTo>
                          <a:pt x="5832331" y="-11078"/>
                          <a:pt x="6125664" y="3315"/>
                          <a:pt x="6525445" y="0"/>
                        </a:cubicBezTo>
                        <a:cubicBezTo>
                          <a:pt x="6518198" y="231871"/>
                          <a:pt x="6527711" y="243634"/>
                          <a:pt x="6525445" y="466517"/>
                        </a:cubicBezTo>
                        <a:cubicBezTo>
                          <a:pt x="6393727" y="453380"/>
                          <a:pt x="6071055" y="473354"/>
                          <a:pt x="5872901" y="466517"/>
                        </a:cubicBezTo>
                        <a:cubicBezTo>
                          <a:pt x="5674747" y="459680"/>
                          <a:pt x="5484629" y="456664"/>
                          <a:pt x="5350865" y="466517"/>
                        </a:cubicBezTo>
                        <a:cubicBezTo>
                          <a:pt x="5217101" y="476370"/>
                          <a:pt x="4837982" y="461470"/>
                          <a:pt x="4698320" y="466517"/>
                        </a:cubicBezTo>
                        <a:cubicBezTo>
                          <a:pt x="4558658" y="471564"/>
                          <a:pt x="4314199" y="435036"/>
                          <a:pt x="4045776" y="466517"/>
                        </a:cubicBezTo>
                        <a:cubicBezTo>
                          <a:pt x="3777353" y="497998"/>
                          <a:pt x="3681793" y="472857"/>
                          <a:pt x="3588995" y="466517"/>
                        </a:cubicBezTo>
                        <a:cubicBezTo>
                          <a:pt x="3496197" y="460177"/>
                          <a:pt x="3037009" y="439652"/>
                          <a:pt x="2805941" y="466517"/>
                        </a:cubicBezTo>
                        <a:cubicBezTo>
                          <a:pt x="2574873" y="493382"/>
                          <a:pt x="2366829" y="454581"/>
                          <a:pt x="2153397" y="466517"/>
                        </a:cubicBezTo>
                        <a:cubicBezTo>
                          <a:pt x="1939965" y="478453"/>
                          <a:pt x="1872191" y="440550"/>
                          <a:pt x="1631361" y="466517"/>
                        </a:cubicBezTo>
                        <a:cubicBezTo>
                          <a:pt x="1390531" y="492484"/>
                          <a:pt x="1201469" y="450290"/>
                          <a:pt x="1044071" y="466517"/>
                        </a:cubicBezTo>
                        <a:cubicBezTo>
                          <a:pt x="886673" y="482745"/>
                          <a:pt x="299945" y="447792"/>
                          <a:pt x="0" y="466517"/>
                        </a:cubicBezTo>
                        <a:cubicBezTo>
                          <a:pt x="-10476" y="240456"/>
                          <a:pt x="13923" y="147420"/>
                          <a:pt x="0" y="0"/>
                        </a:cubicBezTo>
                        <a:close/>
                      </a:path>
                      <a:path w="6525445" h="466517" stroke="0" extrusionOk="0">
                        <a:moveTo>
                          <a:pt x="0" y="0"/>
                        </a:moveTo>
                        <a:cubicBezTo>
                          <a:pt x="176076" y="14537"/>
                          <a:pt x="443184" y="-254"/>
                          <a:pt x="587290" y="0"/>
                        </a:cubicBezTo>
                        <a:cubicBezTo>
                          <a:pt x="731396" y="254"/>
                          <a:pt x="1015850" y="16263"/>
                          <a:pt x="1370343" y="0"/>
                        </a:cubicBezTo>
                        <a:cubicBezTo>
                          <a:pt x="1724836" y="-16263"/>
                          <a:pt x="1782560" y="-33430"/>
                          <a:pt x="2153397" y="0"/>
                        </a:cubicBezTo>
                        <a:cubicBezTo>
                          <a:pt x="2524234" y="33430"/>
                          <a:pt x="2465504" y="-14386"/>
                          <a:pt x="2675432" y="0"/>
                        </a:cubicBezTo>
                        <a:cubicBezTo>
                          <a:pt x="2885360" y="14386"/>
                          <a:pt x="3045998" y="4442"/>
                          <a:pt x="3197468" y="0"/>
                        </a:cubicBezTo>
                        <a:cubicBezTo>
                          <a:pt x="3348938" y="-4442"/>
                          <a:pt x="3819508" y="33470"/>
                          <a:pt x="3980521" y="0"/>
                        </a:cubicBezTo>
                        <a:cubicBezTo>
                          <a:pt x="4141534" y="-33470"/>
                          <a:pt x="4264370" y="6267"/>
                          <a:pt x="4437303" y="0"/>
                        </a:cubicBezTo>
                        <a:cubicBezTo>
                          <a:pt x="4610236" y="-6267"/>
                          <a:pt x="5021708" y="-17431"/>
                          <a:pt x="5220356" y="0"/>
                        </a:cubicBezTo>
                        <a:cubicBezTo>
                          <a:pt x="5419004" y="17431"/>
                          <a:pt x="5531335" y="-16310"/>
                          <a:pt x="5677137" y="0"/>
                        </a:cubicBezTo>
                        <a:cubicBezTo>
                          <a:pt x="5822939" y="16310"/>
                          <a:pt x="6168348" y="28821"/>
                          <a:pt x="6525445" y="0"/>
                        </a:cubicBezTo>
                        <a:cubicBezTo>
                          <a:pt x="6510428" y="157517"/>
                          <a:pt x="6529347" y="259683"/>
                          <a:pt x="6525445" y="466517"/>
                        </a:cubicBezTo>
                        <a:cubicBezTo>
                          <a:pt x="6398626" y="469679"/>
                          <a:pt x="6164511" y="469085"/>
                          <a:pt x="6068664" y="466517"/>
                        </a:cubicBezTo>
                        <a:cubicBezTo>
                          <a:pt x="5972817" y="463949"/>
                          <a:pt x="5669820" y="437027"/>
                          <a:pt x="5350865" y="466517"/>
                        </a:cubicBezTo>
                        <a:cubicBezTo>
                          <a:pt x="5031910" y="496007"/>
                          <a:pt x="4870037" y="449821"/>
                          <a:pt x="4567812" y="466517"/>
                        </a:cubicBezTo>
                        <a:cubicBezTo>
                          <a:pt x="4265587" y="483213"/>
                          <a:pt x="4170712" y="485229"/>
                          <a:pt x="3784758" y="466517"/>
                        </a:cubicBezTo>
                        <a:cubicBezTo>
                          <a:pt x="3398804" y="447805"/>
                          <a:pt x="3228869" y="435815"/>
                          <a:pt x="3001705" y="466517"/>
                        </a:cubicBezTo>
                        <a:cubicBezTo>
                          <a:pt x="2774541" y="497219"/>
                          <a:pt x="2710160" y="458434"/>
                          <a:pt x="2544924" y="466517"/>
                        </a:cubicBezTo>
                        <a:cubicBezTo>
                          <a:pt x="2379688" y="474600"/>
                          <a:pt x="1949018" y="485713"/>
                          <a:pt x="1761870" y="466517"/>
                        </a:cubicBezTo>
                        <a:cubicBezTo>
                          <a:pt x="1574722" y="447321"/>
                          <a:pt x="1297705" y="460072"/>
                          <a:pt x="978817" y="466517"/>
                        </a:cubicBezTo>
                        <a:cubicBezTo>
                          <a:pt x="659929" y="472962"/>
                          <a:pt x="405953" y="427170"/>
                          <a:pt x="0" y="466517"/>
                        </a:cubicBezTo>
                        <a:cubicBezTo>
                          <a:pt x="17897" y="258577"/>
                          <a:pt x="2118" y="166591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9997">
              <a:defRPr/>
            </a:pPr>
            <a:r>
              <a:rPr lang="ru-RU" sz="2625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Обоснованные научные и клинические данные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F5BBA59-F061-69BA-764F-69A9F352F39D}"/>
              </a:ext>
            </a:extLst>
          </p:cNvPr>
          <p:cNvGrpSpPr/>
          <p:nvPr/>
        </p:nvGrpSpPr>
        <p:grpSpPr>
          <a:xfrm>
            <a:off x="6961089" y="5008014"/>
            <a:ext cx="8537164" cy="684036"/>
            <a:chOff x="5100673" y="3087140"/>
            <a:chExt cx="6505653" cy="52126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842D37C-AE80-9F21-D49A-A13F8FE54AFE}"/>
                </a:ext>
              </a:extLst>
            </p:cNvPr>
            <p:cNvSpPr/>
            <p:nvPr/>
          </p:nvSpPr>
          <p:spPr>
            <a:xfrm>
              <a:off x="5100673" y="3087140"/>
              <a:ext cx="6505653" cy="521261"/>
            </a:xfrm>
            <a:prstGeom prst="rect">
              <a:avLst/>
            </a:prstGeom>
            <a:ln>
              <a:extLst>
                <a:ext uri="{C807C97D-BFC1-408E-A445-0C87EB9F89A2}">
                  <ask:lineSketchStyleProps xmlns:ask="http://schemas.microsoft.com/office/drawing/2018/sketchyshapes" xmlns="" sd="1218447764">
                    <a:custGeom>
                      <a:avLst/>
                      <a:gdLst>
                        <a:gd name="csX0" fmla="*/ 0 w 6505653"/>
                        <a:gd name="csY0" fmla="*/ 0 h 521261"/>
                        <a:gd name="csX1" fmla="*/ 780678 w 6505653"/>
                        <a:gd name="csY1" fmla="*/ 0 h 521261"/>
                        <a:gd name="csX2" fmla="*/ 1431244 w 6505653"/>
                        <a:gd name="csY2" fmla="*/ 0 h 521261"/>
                        <a:gd name="csX3" fmla="*/ 1951696 w 6505653"/>
                        <a:gd name="csY3" fmla="*/ 0 h 521261"/>
                        <a:gd name="csX4" fmla="*/ 2537205 w 6505653"/>
                        <a:gd name="csY4" fmla="*/ 0 h 521261"/>
                        <a:gd name="csX5" fmla="*/ 3317883 w 6505653"/>
                        <a:gd name="csY5" fmla="*/ 0 h 521261"/>
                        <a:gd name="csX6" fmla="*/ 3968448 w 6505653"/>
                        <a:gd name="csY6" fmla="*/ 0 h 521261"/>
                        <a:gd name="csX7" fmla="*/ 4749127 w 6505653"/>
                        <a:gd name="csY7" fmla="*/ 0 h 521261"/>
                        <a:gd name="csX8" fmla="*/ 5464749 w 6505653"/>
                        <a:gd name="csY8" fmla="*/ 0 h 521261"/>
                        <a:gd name="csX9" fmla="*/ 6505653 w 6505653"/>
                        <a:gd name="csY9" fmla="*/ 0 h 521261"/>
                        <a:gd name="csX10" fmla="*/ 6505653 w 6505653"/>
                        <a:gd name="csY10" fmla="*/ 521261 h 521261"/>
                        <a:gd name="csX11" fmla="*/ 5855088 w 6505653"/>
                        <a:gd name="csY11" fmla="*/ 521261 h 521261"/>
                        <a:gd name="csX12" fmla="*/ 5334635 w 6505653"/>
                        <a:gd name="csY12" fmla="*/ 521261 h 521261"/>
                        <a:gd name="csX13" fmla="*/ 4684070 w 6505653"/>
                        <a:gd name="csY13" fmla="*/ 521261 h 521261"/>
                        <a:gd name="csX14" fmla="*/ 4033505 w 6505653"/>
                        <a:gd name="csY14" fmla="*/ 521261 h 521261"/>
                        <a:gd name="csX15" fmla="*/ 3578109 w 6505653"/>
                        <a:gd name="csY15" fmla="*/ 521261 h 521261"/>
                        <a:gd name="csX16" fmla="*/ 2797431 w 6505653"/>
                        <a:gd name="csY16" fmla="*/ 521261 h 521261"/>
                        <a:gd name="csX17" fmla="*/ 2146865 w 6505653"/>
                        <a:gd name="csY17" fmla="*/ 521261 h 521261"/>
                        <a:gd name="csX18" fmla="*/ 1626413 w 6505653"/>
                        <a:gd name="csY18" fmla="*/ 521261 h 521261"/>
                        <a:gd name="csX19" fmla="*/ 1040904 w 6505653"/>
                        <a:gd name="csY19" fmla="*/ 521261 h 521261"/>
                        <a:gd name="csX20" fmla="*/ 0 w 6505653"/>
                        <a:gd name="csY20" fmla="*/ 521261 h 521261"/>
                        <a:gd name="csX21" fmla="*/ 0 w 6505653"/>
                        <a:gd name="csY21" fmla="*/ 0 h 521261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</a:cxnLst>
                      <a:rect l="l" t="t" r="r" b="b"/>
                      <a:pathLst>
                        <a:path w="6505653" h="521261" fill="none" extrusionOk="0">
                          <a:moveTo>
                            <a:pt x="0" y="0"/>
                          </a:moveTo>
                          <a:cubicBezTo>
                            <a:pt x="199639" y="30008"/>
                            <a:pt x="614498" y="15725"/>
                            <a:pt x="780678" y="0"/>
                          </a:cubicBezTo>
                          <a:cubicBezTo>
                            <a:pt x="946858" y="-15725"/>
                            <a:pt x="1292881" y="-31855"/>
                            <a:pt x="1431244" y="0"/>
                          </a:cubicBezTo>
                          <a:cubicBezTo>
                            <a:pt x="1569607" y="31855"/>
                            <a:pt x="1716135" y="-14147"/>
                            <a:pt x="1951696" y="0"/>
                          </a:cubicBezTo>
                          <a:cubicBezTo>
                            <a:pt x="2187257" y="14147"/>
                            <a:pt x="2400009" y="-14883"/>
                            <a:pt x="2537205" y="0"/>
                          </a:cubicBezTo>
                          <a:cubicBezTo>
                            <a:pt x="2674401" y="14883"/>
                            <a:pt x="3016171" y="-7240"/>
                            <a:pt x="3317883" y="0"/>
                          </a:cubicBezTo>
                          <a:cubicBezTo>
                            <a:pt x="3619595" y="7240"/>
                            <a:pt x="3699687" y="30018"/>
                            <a:pt x="3968448" y="0"/>
                          </a:cubicBezTo>
                          <a:cubicBezTo>
                            <a:pt x="4237209" y="-30018"/>
                            <a:pt x="4564079" y="1954"/>
                            <a:pt x="4749127" y="0"/>
                          </a:cubicBezTo>
                          <a:cubicBezTo>
                            <a:pt x="4934175" y="-1954"/>
                            <a:pt x="5195288" y="-28477"/>
                            <a:pt x="5464749" y="0"/>
                          </a:cubicBezTo>
                          <a:cubicBezTo>
                            <a:pt x="5734210" y="28477"/>
                            <a:pt x="6175079" y="-34482"/>
                            <a:pt x="6505653" y="0"/>
                          </a:cubicBezTo>
                          <a:cubicBezTo>
                            <a:pt x="6496668" y="127773"/>
                            <a:pt x="6527974" y="336385"/>
                            <a:pt x="6505653" y="521261"/>
                          </a:cubicBezTo>
                          <a:cubicBezTo>
                            <a:pt x="6260129" y="544833"/>
                            <a:pt x="6116742" y="541003"/>
                            <a:pt x="5855088" y="521261"/>
                          </a:cubicBezTo>
                          <a:cubicBezTo>
                            <a:pt x="5593434" y="501519"/>
                            <a:pt x="5537366" y="504251"/>
                            <a:pt x="5334635" y="521261"/>
                          </a:cubicBezTo>
                          <a:cubicBezTo>
                            <a:pt x="5131904" y="538271"/>
                            <a:pt x="4826025" y="504159"/>
                            <a:pt x="4684070" y="521261"/>
                          </a:cubicBezTo>
                          <a:cubicBezTo>
                            <a:pt x="4542116" y="538363"/>
                            <a:pt x="4174604" y="489199"/>
                            <a:pt x="4033505" y="521261"/>
                          </a:cubicBezTo>
                          <a:cubicBezTo>
                            <a:pt x="3892407" y="553323"/>
                            <a:pt x="3750895" y="524183"/>
                            <a:pt x="3578109" y="521261"/>
                          </a:cubicBezTo>
                          <a:cubicBezTo>
                            <a:pt x="3405323" y="518339"/>
                            <a:pt x="2991725" y="500687"/>
                            <a:pt x="2797431" y="521261"/>
                          </a:cubicBezTo>
                          <a:cubicBezTo>
                            <a:pt x="2603137" y="541835"/>
                            <a:pt x="2379345" y="500115"/>
                            <a:pt x="2146865" y="521261"/>
                          </a:cubicBezTo>
                          <a:cubicBezTo>
                            <a:pt x="1914385" y="542407"/>
                            <a:pt x="1874362" y="521398"/>
                            <a:pt x="1626413" y="521261"/>
                          </a:cubicBezTo>
                          <a:cubicBezTo>
                            <a:pt x="1378464" y="521124"/>
                            <a:pt x="1325223" y="536925"/>
                            <a:pt x="1040904" y="521261"/>
                          </a:cubicBezTo>
                          <a:cubicBezTo>
                            <a:pt x="756585" y="505597"/>
                            <a:pt x="411513" y="551803"/>
                            <a:pt x="0" y="521261"/>
                          </a:cubicBezTo>
                          <a:cubicBezTo>
                            <a:pt x="-25914" y="299036"/>
                            <a:pt x="25915" y="195892"/>
                            <a:pt x="0" y="0"/>
                          </a:cubicBezTo>
                          <a:close/>
                        </a:path>
                        <a:path w="6505653" h="521261" stroke="0" extrusionOk="0">
                          <a:moveTo>
                            <a:pt x="0" y="0"/>
                          </a:moveTo>
                          <a:cubicBezTo>
                            <a:pt x="289492" y="6728"/>
                            <a:pt x="307436" y="9625"/>
                            <a:pt x="585509" y="0"/>
                          </a:cubicBezTo>
                          <a:cubicBezTo>
                            <a:pt x="863582" y="-9625"/>
                            <a:pt x="1142860" y="15808"/>
                            <a:pt x="1366187" y="0"/>
                          </a:cubicBezTo>
                          <a:cubicBezTo>
                            <a:pt x="1589514" y="-15808"/>
                            <a:pt x="1948406" y="19149"/>
                            <a:pt x="2146865" y="0"/>
                          </a:cubicBezTo>
                          <a:cubicBezTo>
                            <a:pt x="2345324" y="-19149"/>
                            <a:pt x="2436473" y="-17336"/>
                            <a:pt x="2667318" y="0"/>
                          </a:cubicBezTo>
                          <a:cubicBezTo>
                            <a:pt x="2898163" y="17336"/>
                            <a:pt x="3009820" y="-4555"/>
                            <a:pt x="3187770" y="0"/>
                          </a:cubicBezTo>
                          <a:cubicBezTo>
                            <a:pt x="3365720" y="4555"/>
                            <a:pt x="3690121" y="-6007"/>
                            <a:pt x="3968448" y="0"/>
                          </a:cubicBezTo>
                          <a:cubicBezTo>
                            <a:pt x="4246775" y="6007"/>
                            <a:pt x="4311661" y="-12994"/>
                            <a:pt x="4423844" y="0"/>
                          </a:cubicBezTo>
                          <a:cubicBezTo>
                            <a:pt x="4536027" y="12994"/>
                            <a:pt x="4974085" y="-21956"/>
                            <a:pt x="5204522" y="0"/>
                          </a:cubicBezTo>
                          <a:cubicBezTo>
                            <a:pt x="5434959" y="21956"/>
                            <a:pt x="5532984" y="11566"/>
                            <a:pt x="5659918" y="0"/>
                          </a:cubicBezTo>
                          <a:cubicBezTo>
                            <a:pt x="5786852" y="-11566"/>
                            <a:pt x="6196492" y="-38090"/>
                            <a:pt x="6505653" y="0"/>
                          </a:cubicBezTo>
                          <a:cubicBezTo>
                            <a:pt x="6497144" y="222619"/>
                            <a:pt x="6496592" y="284460"/>
                            <a:pt x="6505653" y="521261"/>
                          </a:cubicBezTo>
                          <a:cubicBezTo>
                            <a:pt x="6283967" y="535691"/>
                            <a:pt x="6165566" y="540056"/>
                            <a:pt x="6050257" y="521261"/>
                          </a:cubicBezTo>
                          <a:cubicBezTo>
                            <a:pt x="5934948" y="502466"/>
                            <a:pt x="5486264" y="555450"/>
                            <a:pt x="5334635" y="521261"/>
                          </a:cubicBezTo>
                          <a:cubicBezTo>
                            <a:pt x="5183006" y="487072"/>
                            <a:pt x="4803328" y="496782"/>
                            <a:pt x="4553957" y="521261"/>
                          </a:cubicBezTo>
                          <a:cubicBezTo>
                            <a:pt x="4304586" y="545740"/>
                            <a:pt x="4021457" y="531657"/>
                            <a:pt x="3773279" y="521261"/>
                          </a:cubicBezTo>
                          <a:cubicBezTo>
                            <a:pt x="3525101" y="510865"/>
                            <a:pt x="3160568" y="489562"/>
                            <a:pt x="2992600" y="521261"/>
                          </a:cubicBezTo>
                          <a:cubicBezTo>
                            <a:pt x="2824632" y="552960"/>
                            <a:pt x="2716098" y="507673"/>
                            <a:pt x="2537205" y="521261"/>
                          </a:cubicBezTo>
                          <a:cubicBezTo>
                            <a:pt x="2358313" y="534849"/>
                            <a:pt x="2046542" y="532247"/>
                            <a:pt x="1756526" y="521261"/>
                          </a:cubicBezTo>
                          <a:cubicBezTo>
                            <a:pt x="1466510" y="510275"/>
                            <a:pt x="1185930" y="490101"/>
                            <a:pt x="975848" y="521261"/>
                          </a:cubicBezTo>
                          <a:cubicBezTo>
                            <a:pt x="765766" y="552421"/>
                            <a:pt x="367989" y="541017"/>
                            <a:pt x="0" y="521261"/>
                          </a:cubicBezTo>
                          <a:cubicBezTo>
                            <a:pt x="-13232" y="300273"/>
                            <a:pt x="-1510" y="255245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99997">
                <a:defRPr/>
              </a:pPr>
              <a:endParaRPr lang="ru-RU" sz="2362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5635400-B0FD-D991-672C-4F5DE811A56B}"/>
                </a:ext>
              </a:extLst>
            </p:cNvPr>
            <p:cNvSpPr txBox="1"/>
            <p:nvPr/>
          </p:nvSpPr>
          <p:spPr>
            <a:xfrm>
              <a:off x="5130005" y="3154957"/>
              <a:ext cx="6087915" cy="400163"/>
            </a:xfrm>
            <a:prstGeom prst="rect">
              <a:avLst/>
            </a:prstGeom>
            <a:noFill/>
          </p:spPr>
          <p:txBody>
            <a:bodyPr wrap="square" lIns="119994" tIns="59997" rIns="119994" bIns="59997" anchor="t">
              <a:spAutoFit/>
            </a:bodyPr>
            <a:lstStyle>
              <a:defPPr>
                <a:defRPr lang="en-US"/>
              </a:defPPr>
              <a:lvl1pPr marL="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3429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99997">
                <a:defRPr/>
              </a:pPr>
              <a:r>
                <a:rPr lang="ru-RU" sz="2625" dirty="0">
                  <a:solidFill>
                    <a:srgbClr val="F5F5F5">
                      <a:lumMod val="10000"/>
                    </a:srgbClr>
                  </a:solidFill>
                  <a:latin typeface="Verdana"/>
                </a:rPr>
                <a:t>Только </a:t>
              </a:r>
              <a:r>
                <a:rPr lang="ru-RU" sz="2625" dirty="0" err="1">
                  <a:solidFill>
                    <a:srgbClr val="F5F5F5">
                      <a:lumMod val="10000"/>
                    </a:srgbClr>
                  </a:solidFill>
                  <a:latin typeface="Verdana"/>
                </a:rPr>
                <a:t>непромоционный</a:t>
              </a:r>
              <a:r>
                <a:rPr lang="ru-RU" sz="2625" dirty="0">
                  <a:solidFill>
                    <a:srgbClr val="F5F5F5">
                      <a:lumMod val="10000"/>
                    </a:srgbClr>
                  </a:solidFill>
                  <a:latin typeface="Verdana"/>
                </a:rPr>
                <a:t> подход</a:t>
              </a: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C8001E80-4644-4C2A-D42E-5765937C3A9A}"/>
              </a:ext>
            </a:extLst>
          </p:cNvPr>
          <p:cNvSpPr/>
          <p:nvPr/>
        </p:nvSpPr>
        <p:spPr>
          <a:xfrm>
            <a:off x="6961087" y="3387896"/>
            <a:ext cx="8524178" cy="647950"/>
          </a:xfrm>
          <a:prstGeom prst="rect">
            <a:avLst/>
          </a:prstGeom>
          <a:ln>
            <a:extLst>
              <a:ext uri="{C807C97D-BFC1-408E-A445-0C87EB9F89A2}">
                <ask:lineSketchStyleProps xmlns:ask="http://schemas.microsoft.com/office/drawing/2018/sketchyshapes" xmlns="" sd="650862336">
                  <a:custGeom>
                    <a:avLst/>
                    <a:gdLst>
                      <a:gd name="csX0" fmla="*/ 0 w 6525445"/>
                      <a:gd name="csY0" fmla="*/ 0 h 493762"/>
                      <a:gd name="csX1" fmla="*/ 652545 w 6525445"/>
                      <a:gd name="csY1" fmla="*/ 0 h 493762"/>
                      <a:gd name="csX2" fmla="*/ 1370343 w 6525445"/>
                      <a:gd name="csY2" fmla="*/ 0 h 493762"/>
                      <a:gd name="csX3" fmla="*/ 1827125 w 6525445"/>
                      <a:gd name="csY3" fmla="*/ 0 h 493762"/>
                      <a:gd name="csX4" fmla="*/ 2349160 w 6525445"/>
                      <a:gd name="csY4" fmla="*/ 0 h 493762"/>
                      <a:gd name="csX5" fmla="*/ 3066959 w 6525445"/>
                      <a:gd name="csY5" fmla="*/ 0 h 493762"/>
                      <a:gd name="csX6" fmla="*/ 3719504 w 6525445"/>
                      <a:gd name="csY6" fmla="*/ 0 h 493762"/>
                      <a:gd name="csX7" fmla="*/ 4176285 w 6525445"/>
                      <a:gd name="csY7" fmla="*/ 0 h 493762"/>
                      <a:gd name="csX8" fmla="*/ 4894084 w 6525445"/>
                      <a:gd name="csY8" fmla="*/ 0 h 493762"/>
                      <a:gd name="csX9" fmla="*/ 5481374 w 6525445"/>
                      <a:gd name="csY9" fmla="*/ 0 h 493762"/>
                      <a:gd name="csX10" fmla="*/ 6525445 w 6525445"/>
                      <a:gd name="csY10" fmla="*/ 0 h 493762"/>
                      <a:gd name="csX11" fmla="*/ 6525445 w 6525445"/>
                      <a:gd name="csY11" fmla="*/ 493762 h 493762"/>
                      <a:gd name="csX12" fmla="*/ 5742392 w 6525445"/>
                      <a:gd name="csY12" fmla="*/ 493762 h 493762"/>
                      <a:gd name="csX13" fmla="*/ 5155102 w 6525445"/>
                      <a:gd name="csY13" fmla="*/ 493762 h 493762"/>
                      <a:gd name="csX14" fmla="*/ 4502557 w 6525445"/>
                      <a:gd name="csY14" fmla="*/ 493762 h 493762"/>
                      <a:gd name="csX15" fmla="*/ 3915267 w 6525445"/>
                      <a:gd name="csY15" fmla="*/ 493762 h 493762"/>
                      <a:gd name="csX16" fmla="*/ 3327977 w 6525445"/>
                      <a:gd name="csY16" fmla="*/ 493762 h 493762"/>
                      <a:gd name="csX17" fmla="*/ 2544924 w 6525445"/>
                      <a:gd name="csY17" fmla="*/ 493762 h 493762"/>
                      <a:gd name="csX18" fmla="*/ 1761870 w 6525445"/>
                      <a:gd name="csY18" fmla="*/ 493762 h 493762"/>
                      <a:gd name="csX19" fmla="*/ 1109326 w 6525445"/>
                      <a:gd name="csY19" fmla="*/ 493762 h 493762"/>
                      <a:gd name="csX20" fmla="*/ 652544 w 6525445"/>
                      <a:gd name="csY20" fmla="*/ 493762 h 493762"/>
                      <a:gd name="csX21" fmla="*/ 0 w 6525445"/>
                      <a:gd name="csY21" fmla="*/ 493762 h 493762"/>
                      <a:gd name="csX22" fmla="*/ 0 w 6525445"/>
                      <a:gd name="csY22" fmla="*/ 0 h 4937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6525445" h="493762" fill="none" extrusionOk="0">
                        <a:moveTo>
                          <a:pt x="0" y="0"/>
                        </a:moveTo>
                        <a:cubicBezTo>
                          <a:pt x="244986" y="2562"/>
                          <a:pt x="368307" y="-11409"/>
                          <a:pt x="652545" y="0"/>
                        </a:cubicBezTo>
                        <a:cubicBezTo>
                          <a:pt x="936783" y="11409"/>
                          <a:pt x="1182794" y="-10763"/>
                          <a:pt x="1370343" y="0"/>
                        </a:cubicBezTo>
                        <a:cubicBezTo>
                          <a:pt x="1557892" y="10763"/>
                          <a:pt x="1614578" y="2657"/>
                          <a:pt x="1827125" y="0"/>
                        </a:cubicBezTo>
                        <a:cubicBezTo>
                          <a:pt x="2039672" y="-2657"/>
                          <a:pt x="2090400" y="-5654"/>
                          <a:pt x="2349160" y="0"/>
                        </a:cubicBezTo>
                        <a:cubicBezTo>
                          <a:pt x="2607920" y="5654"/>
                          <a:pt x="2890702" y="19873"/>
                          <a:pt x="3066959" y="0"/>
                        </a:cubicBezTo>
                        <a:cubicBezTo>
                          <a:pt x="3243216" y="-19873"/>
                          <a:pt x="3449718" y="-25139"/>
                          <a:pt x="3719504" y="0"/>
                        </a:cubicBezTo>
                        <a:cubicBezTo>
                          <a:pt x="3989291" y="25139"/>
                          <a:pt x="4064910" y="-12348"/>
                          <a:pt x="4176285" y="0"/>
                        </a:cubicBezTo>
                        <a:cubicBezTo>
                          <a:pt x="4287660" y="12348"/>
                          <a:pt x="4607924" y="-2720"/>
                          <a:pt x="4894084" y="0"/>
                        </a:cubicBezTo>
                        <a:cubicBezTo>
                          <a:pt x="5180244" y="2720"/>
                          <a:pt x="5287596" y="4801"/>
                          <a:pt x="5481374" y="0"/>
                        </a:cubicBezTo>
                        <a:cubicBezTo>
                          <a:pt x="5675152" y="-4801"/>
                          <a:pt x="6084491" y="46665"/>
                          <a:pt x="6525445" y="0"/>
                        </a:cubicBezTo>
                        <a:cubicBezTo>
                          <a:pt x="6549239" y="145392"/>
                          <a:pt x="6516017" y="285423"/>
                          <a:pt x="6525445" y="493762"/>
                        </a:cubicBezTo>
                        <a:cubicBezTo>
                          <a:pt x="6253258" y="515232"/>
                          <a:pt x="6058275" y="469888"/>
                          <a:pt x="5742392" y="493762"/>
                        </a:cubicBezTo>
                        <a:cubicBezTo>
                          <a:pt x="5426509" y="517636"/>
                          <a:pt x="5332801" y="486094"/>
                          <a:pt x="5155102" y="493762"/>
                        </a:cubicBezTo>
                        <a:cubicBezTo>
                          <a:pt x="4977403" y="501431"/>
                          <a:pt x="4767615" y="475750"/>
                          <a:pt x="4502557" y="493762"/>
                        </a:cubicBezTo>
                        <a:cubicBezTo>
                          <a:pt x="4237499" y="511774"/>
                          <a:pt x="4063380" y="501351"/>
                          <a:pt x="3915267" y="493762"/>
                        </a:cubicBezTo>
                        <a:cubicBezTo>
                          <a:pt x="3767154" y="486174"/>
                          <a:pt x="3510337" y="498347"/>
                          <a:pt x="3327977" y="493762"/>
                        </a:cubicBezTo>
                        <a:cubicBezTo>
                          <a:pt x="3145617" y="489178"/>
                          <a:pt x="2845451" y="483577"/>
                          <a:pt x="2544924" y="493762"/>
                        </a:cubicBezTo>
                        <a:cubicBezTo>
                          <a:pt x="2244397" y="503947"/>
                          <a:pt x="1953992" y="500217"/>
                          <a:pt x="1761870" y="493762"/>
                        </a:cubicBezTo>
                        <a:cubicBezTo>
                          <a:pt x="1569748" y="487307"/>
                          <a:pt x="1285161" y="521861"/>
                          <a:pt x="1109326" y="493762"/>
                        </a:cubicBezTo>
                        <a:cubicBezTo>
                          <a:pt x="933491" y="465663"/>
                          <a:pt x="770082" y="503860"/>
                          <a:pt x="652544" y="493762"/>
                        </a:cubicBezTo>
                        <a:cubicBezTo>
                          <a:pt x="535006" y="483664"/>
                          <a:pt x="193800" y="498204"/>
                          <a:pt x="0" y="493762"/>
                        </a:cubicBezTo>
                        <a:cubicBezTo>
                          <a:pt x="-12483" y="357248"/>
                          <a:pt x="-14950" y="176472"/>
                          <a:pt x="0" y="0"/>
                        </a:cubicBezTo>
                        <a:close/>
                      </a:path>
                      <a:path w="6525445" h="493762" stroke="0" extrusionOk="0">
                        <a:moveTo>
                          <a:pt x="0" y="0"/>
                        </a:moveTo>
                        <a:cubicBezTo>
                          <a:pt x="240755" y="-18526"/>
                          <a:pt x="469097" y="12633"/>
                          <a:pt x="717799" y="0"/>
                        </a:cubicBezTo>
                        <a:cubicBezTo>
                          <a:pt x="966501" y="-12633"/>
                          <a:pt x="1097942" y="21553"/>
                          <a:pt x="1370343" y="0"/>
                        </a:cubicBezTo>
                        <a:cubicBezTo>
                          <a:pt x="1642744" y="-21553"/>
                          <a:pt x="1774436" y="17617"/>
                          <a:pt x="1892379" y="0"/>
                        </a:cubicBezTo>
                        <a:cubicBezTo>
                          <a:pt x="2010322" y="-17617"/>
                          <a:pt x="2413565" y="-30048"/>
                          <a:pt x="2544924" y="0"/>
                        </a:cubicBezTo>
                        <a:cubicBezTo>
                          <a:pt x="2676284" y="30048"/>
                          <a:pt x="3109975" y="-26794"/>
                          <a:pt x="3262723" y="0"/>
                        </a:cubicBezTo>
                        <a:cubicBezTo>
                          <a:pt x="3415471" y="26794"/>
                          <a:pt x="3547969" y="7712"/>
                          <a:pt x="3719504" y="0"/>
                        </a:cubicBezTo>
                        <a:cubicBezTo>
                          <a:pt x="3891039" y="-7712"/>
                          <a:pt x="3978678" y="21364"/>
                          <a:pt x="4176285" y="0"/>
                        </a:cubicBezTo>
                        <a:cubicBezTo>
                          <a:pt x="4373892" y="-21364"/>
                          <a:pt x="4574548" y="-6118"/>
                          <a:pt x="4698320" y="0"/>
                        </a:cubicBezTo>
                        <a:cubicBezTo>
                          <a:pt x="4822092" y="6118"/>
                          <a:pt x="4947500" y="-15953"/>
                          <a:pt x="5155102" y="0"/>
                        </a:cubicBezTo>
                        <a:cubicBezTo>
                          <a:pt x="5362704" y="15953"/>
                          <a:pt x="5557596" y="-22104"/>
                          <a:pt x="5938155" y="0"/>
                        </a:cubicBezTo>
                        <a:cubicBezTo>
                          <a:pt x="6318714" y="22104"/>
                          <a:pt x="6376921" y="-12888"/>
                          <a:pt x="6525445" y="0"/>
                        </a:cubicBezTo>
                        <a:cubicBezTo>
                          <a:pt x="6547445" y="194267"/>
                          <a:pt x="6501752" y="381272"/>
                          <a:pt x="6525445" y="493762"/>
                        </a:cubicBezTo>
                        <a:cubicBezTo>
                          <a:pt x="6306685" y="481892"/>
                          <a:pt x="6219669" y="492302"/>
                          <a:pt x="6003409" y="493762"/>
                        </a:cubicBezTo>
                        <a:cubicBezTo>
                          <a:pt x="5787149" y="495222"/>
                          <a:pt x="5584496" y="494022"/>
                          <a:pt x="5220356" y="493762"/>
                        </a:cubicBezTo>
                        <a:cubicBezTo>
                          <a:pt x="4856216" y="493502"/>
                          <a:pt x="4900355" y="502501"/>
                          <a:pt x="4763575" y="493762"/>
                        </a:cubicBezTo>
                        <a:cubicBezTo>
                          <a:pt x="4626795" y="485023"/>
                          <a:pt x="4431621" y="513410"/>
                          <a:pt x="4111030" y="493762"/>
                        </a:cubicBezTo>
                        <a:cubicBezTo>
                          <a:pt x="3790440" y="474114"/>
                          <a:pt x="3616205" y="507079"/>
                          <a:pt x="3458486" y="493762"/>
                        </a:cubicBezTo>
                        <a:cubicBezTo>
                          <a:pt x="3300767" y="480445"/>
                          <a:pt x="3091954" y="520529"/>
                          <a:pt x="2871196" y="493762"/>
                        </a:cubicBezTo>
                        <a:cubicBezTo>
                          <a:pt x="2650438" y="466996"/>
                          <a:pt x="2544251" y="519225"/>
                          <a:pt x="2349160" y="493762"/>
                        </a:cubicBezTo>
                        <a:cubicBezTo>
                          <a:pt x="2154069" y="468299"/>
                          <a:pt x="1978874" y="483085"/>
                          <a:pt x="1631361" y="493762"/>
                        </a:cubicBezTo>
                        <a:cubicBezTo>
                          <a:pt x="1283848" y="504439"/>
                          <a:pt x="1197526" y="493895"/>
                          <a:pt x="978817" y="493762"/>
                        </a:cubicBezTo>
                        <a:cubicBezTo>
                          <a:pt x="760108" y="493629"/>
                          <a:pt x="436630" y="515522"/>
                          <a:pt x="0" y="493762"/>
                        </a:cubicBezTo>
                        <a:cubicBezTo>
                          <a:pt x="16317" y="335410"/>
                          <a:pt x="-1549" y="17391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9997">
              <a:defRPr/>
            </a:pPr>
            <a:r>
              <a:rPr lang="ru-RU" sz="2625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Открытость и прозрачность взаимодействия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339829E-C5B2-A88A-63DF-70AA2B0450F6}"/>
              </a:ext>
            </a:extLst>
          </p:cNvPr>
          <p:cNvSpPr/>
          <p:nvPr/>
        </p:nvSpPr>
        <p:spPr>
          <a:xfrm>
            <a:off x="6961087" y="7600062"/>
            <a:ext cx="8563137" cy="855115"/>
          </a:xfrm>
          <a:prstGeom prst="rect">
            <a:avLst/>
          </a:prstGeom>
          <a:ln>
            <a:extLst>
              <a:ext uri="{C807C97D-BFC1-408E-A445-0C87EB9F89A2}">
                <ask:lineSketchStyleProps xmlns:ask="http://schemas.microsoft.com/office/drawing/2018/sketchyshapes" xmlns="" sd="650862336">
                  <a:custGeom>
                    <a:avLst/>
                    <a:gdLst>
                      <a:gd name="csX0" fmla="*/ 0 w 6525445"/>
                      <a:gd name="csY0" fmla="*/ 0 h 651631"/>
                      <a:gd name="csX1" fmla="*/ 652545 w 6525445"/>
                      <a:gd name="csY1" fmla="*/ 0 h 651631"/>
                      <a:gd name="csX2" fmla="*/ 1370343 w 6525445"/>
                      <a:gd name="csY2" fmla="*/ 0 h 651631"/>
                      <a:gd name="csX3" fmla="*/ 1827125 w 6525445"/>
                      <a:gd name="csY3" fmla="*/ 0 h 651631"/>
                      <a:gd name="csX4" fmla="*/ 2349160 w 6525445"/>
                      <a:gd name="csY4" fmla="*/ 0 h 651631"/>
                      <a:gd name="csX5" fmla="*/ 3066959 w 6525445"/>
                      <a:gd name="csY5" fmla="*/ 0 h 651631"/>
                      <a:gd name="csX6" fmla="*/ 3719504 w 6525445"/>
                      <a:gd name="csY6" fmla="*/ 0 h 651631"/>
                      <a:gd name="csX7" fmla="*/ 4176285 w 6525445"/>
                      <a:gd name="csY7" fmla="*/ 0 h 651631"/>
                      <a:gd name="csX8" fmla="*/ 4894084 w 6525445"/>
                      <a:gd name="csY8" fmla="*/ 0 h 651631"/>
                      <a:gd name="csX9" fmla="*/ 5481374 w 6525445"/>
                      <a:gd name="csY9" fmla="*/ 0 h 651631"/>
                      <a:gd name="csX10" fmla="*/ 6525445 w 6525445"/>
                      <a:gd name="csY10" fmla="*/ 0 h 651631"/>
                      <a:gd name="csX11" fmla="*/ 6525445 w 6525445"/>
                      <a:gd name="csY11" fmla="*/ 651631 h 651631"/>
                      <a:gd name="csX12" fmla="*/ 5742392 w 6525445"/>
                      <a:gd name="csY12" fmla="*/ 651631 h 651631"/>
                      <a:gd name="csX13" fmla="*/ 5155102 w 6525445"/>
                      <a:gd name="csY13" fmla="*/ 651631 h 651631"/>
                      <a:gd name="csX14" fmla="*/ 4502557 w 6525445"/>
                      <a:gd name="csY14" fmla="*/ 651631 h 651631"/>
                      <a:gd name="csX15" fmla="*/ 3915267 w 6525445"/>
                      <a:gd name="csY15" fmla="*/ 651631 h 651631"/>
                      <a:gd name="csX16" fmla="*/ 3327977 w 6525445"/>
                      <a:gd name="csY16" fmla="*/ 651631 h 651631"/>
                      <a:gd name="csX17" fmla="*/ 2544924 w 6525445"/>
                      <a:gd name="csY17" fmla="*/ 651631 h 651631"/>
                      <a:gd name="csX18" fmla="*/ 1761870 w 6525445"/>
                      <a:gd name="csY18" fmla="*/ 651631 h 651631"/>
                      <a:gd name="csX19" fmla="*/ 1109326 w 6525445"/>
                      <a:gd name="csY19" fmla="*/ 651631 h 651631"/>
                      <a:gd name="csX20" fmla="*/ 652544 w 6525445"/>
                      <a:gd name="csY20" fmla="*/ 651631 h 651631"/>
                      <a:gd name="csX21" fmla="*/ 0 w 6525445"/>
                      <a:gd name="csY21" fmla="*/ 651631 h 651631"/>
                      <a:gd name="csX22" fmla="*/ 0 w 6525445"/>
                      <a:gd name="csY22" fmla="*/ 0 h 6516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6525445" h="651631" fill="none" extrusionOk="0">
                        <a:moveTo>
                          <a:pt x="0" y="0"/>
                        </a:moveTo>
                        <a:cubicBezTo>
                          <a:pt x="244986" y="2562"/>
                          <a:pt x="368307" y="-11409"/>
                          <a:pt x="652545" y="0"/>
                        </a:cubicBezTo>
                        <a:cubicBezTo>
                          <a:pt x="936783" y="11409"/>
                          <a:pt x="1182794" y="-10763"/>
                          <a:pt x="1370343" y="0"/>
                        </a:cubicBezTo>
                        <a:cubicBezTo>
                          <a:pt x="1557892" y="10763"/>
                          <a:pt x="1614578" y="2657"/>
                          <a:pt x="1827125" y="0"/>
                        </a:cubicBezTo>
                        <a:cubicBezTo>
                          <a:pt x="2039672" y="-2657"/>
                          <a:pt x="2090400" y="-5654"/>
                          <a:pt x="2349160" y="0"/>
                        </a:cubicBezTo>
                        <a:cubicBezTo>
                          <a:pt x="2607920" y="5654"/>
                          <a:pt x="2890702" y="19873"/>
                          <a:pt x="3066959" y="0"/>
                        </a:cubicBezTo>
                        <a:cubicBezTo>
                          <a:pt x="3243216" y="-19873"/>
                          <a:pt x="3449718" y="-25139"/>
                          <a:pt x="3719504" y="0"/>
                        </a:cubicBezTo>
                        <a:cubicBezTo>
                          <a:pt x="3989291" y="25139"/>
                          <a:pt x="4064910" y="-12348"/>
                          <a:pt x="4176285" y="0"/>
                        </a:cubicBezTo>
                        <a:cubicBezTo>
                          <a:pt x="4287660" y="12348"/>
                          <a:pt x="4607924" y="-2720"/>
                          <a:pt x="4894084" y="0"/>
                        </a:cubicBezTo>
                        <a:cubicBezTo>
                          <a:pt x="5180244" y="2720"/>
                          <a:pt x="5287596" y="4801"/>
                          <a:pt x="5481374" y="0"/>
                        </a:cubicBezTo>
                        <a:cubicBezTo>
                          <a:pt x="5675152" y="-4801"/>
                          <a:pt x="6084491" y="46665"/>
                          <a:pt x="6525445" y="0"/>
                        </a:cubicBezTo>
                        <a:cubicBezTo>
                          <a:pt x="6525575" y="224920"/>
                          <a:pt x="6521940" y="439533"/>
                          <a:pt x="6525445" y="651631"/>
                        </a:cubicBezTo>
                        <a:cubicBezTo>
                          <a:pt x="6253258" y="673101"/>
                          <a:pt x="6058275" y="627757"/>
                          <a:pt x="5742392" y="651631"/>
                        </a:cubicBezTo>
                        <a:cubicBezTo>
                          <a:pt x="5426509" y="675505"/>
                          <a:pt x="5332801" y="643963"/>
                          <a:pt x="5155102" y="651631"/>
                        </a:cubicBezTo>
                        <a:cubicBezTo>
                          <a:pt x="4977403" y="659300"/>
                          <a:pt x="4767615" y="633619"/>
                          <a:pt x="4502557" y="651631"/>
                        </a:cubicBezTo>
                        <a:cubicBezTo>
                          <a:pt x="4237499" y="669643"/>
                          <a:pt x="4063380" y="659220"/>
                          <a:pt x="3915267" y="651631"/>
                        </a:cubicBezTo>
                        <a:cubicBezTo>
                          <a:pt x="3767154" y="644043"/>
                          <a:pt x="3510337" y="656216"/>
                          <a:pt x="3327977" y="651631"/>
                        </a:cubicBezTo>
                        <a:cubicBezTo>
                          <a:pt x="3145617" y="647047"/>
                          <a:pt x="2845451" y="641446"/>
                          <a:pt x="2544924" y="651631"/>
                        </a:cubicBezTo>
                        <a:cubicBezTo>
                          <a:pt x="2244397" y="661816"/>
                          <a:pt x="1953992" y="658086"/>
                          <a:pt x="1761870" y="651631"/>
                        </a:cubicBezTo>
                        <a:cubicBezTo>
                          <a:pt x="1569748" y="645176"/>
                          <a:pt x="1285161" y="679730"/>
                          <a:pt x="1109326" y="651631"/>
                        </a:cubicBezTo>
                        <a:cubicBezTo>
                          <a:pt x="933491" y="623532"/>
                          <a:pt x="770082" y="661729"/>
                          <a:pt x="652544" y="651631"/>
                        </a:cubicBezTo>
                        <a:cubicBezTo>
                          <a:pt x="535006" y="641533"/>
                          <a:pt x="193800" y="656073"/>
                          <a:pt x="0" y="651631"/>
                        </a:cubicBezTo>
                        <a:cubicBezTo>
                          <a:pt x="19672" y="376144"/>
                          <a:pt x="-19978" y="149773"/>
                          <a:pt x="0" y="0"/>
                        </a:cubicBezTo>
                        <a:close/>
                      </a:path>
                      <a:path w="6525445" h="651631" stroke="0" extrusionOk="0">
                        <a:moveTo>
                          <a:pt x="0" y="0"/>
                        </a:moveTo>
                        <a:cubicBezTo>
                          <a:pt x="240755" y="-18526"/>
                          <a:pt x="469097" y="12633"/>
                          <a:pt x="717799" y="0"/>
                        </a:cubicBezTo>
                        <a:cubicBezTo>
                          <a:pt x="966501" y="-12633"/>
                          <a:pt x="1097942" y="21553"/>
                          <a:pt x="1370343" y="0"/>
                        </a:cubicBezTo>
                        <a:cubicBezTo>
                          <a:pt x="1642744" y="-21553"/>
                          <a:pt x="1774436" y="17617"/>
                          <a:pt x="1892379" y="0"/>
                        </a:cubicBezTo>
                        <a:cubicBezTo>
                          <a:pt x="2010322" y="-17617"/>
                          <a:pt x="2413565" y="-30048"/>
                          <a:pt x="2544924" y="0"/>
                        </a:cubicBezTo>
                        <a:cubicBezTo>
                          <a:pt x="2676284" y="30048"/>
                          <a:pt x="3109975" y="-26794"/>
                          <a:pt x="3262723" y="0"/>
                        </a:cubicBezTo>
                        <a:cubicBezTo>
                          <a:pt x="3415471" y="26794"/>
                          <a:pt x="3547969" y="7712"/>
                          <a:pt x="3719504" y="0"/>
                        </a:cubicBezTo>
                        <a:cubicBezTo>
                          <a:pt x="3891039" y="-7712"/>
                          <a:pt x="3978678" y="21364"/>
                          <a:pt x="4176285" y="0"/>
                        </a:cubicBezTo>
                        <a:cubicBezTo>
                          <a:pt x="4373892" y="-21364"/>
                          <a:pt x="4574548" y="-6118"/>
                          <a:pt x="4698320" y="0"/>
                        </a:cubicBezTo>
                        <a:cubicBezTo>
                          <a:pt x="4822092" y="6118"/>
                          <a:pt x="4947500" y="-15953"/>
                          <a:pt x="5155102" y="0"/>
                        </a:cubicBezTo>
                        <a:cubicBezTo>
                          <a:pt x="5362704" y="15953"/>
                          <a:pt x="5557596" y="-22104"/>
                          <a:pt x="5938155" y="0"/>
                        </a:cubicBezTo>
                        <a:cubicBezTo>
                          <a:pt x="6318714" y="22104"/>
                          <a:pt x="6376921" y="-12888"/>
                          <a:pt x="6525445" y="0"/>
                        </a:cubicBezTo>
                        <a:cubicBezTo>
                          <a:pt x="6536769" y="164914"/>
                          <a:pt x="6497303" y="412829"/>
                          <a:pt x="6525445" y="651631"/>
                        </a:cubicBezTo>
                        <a:cubicBezTo>
                          <a:pt x="6306685" y="639761"/>
                          <a:pt x="6219669" y="650171"/>
                          <a:pt x="6003409" y="651631"/>
                        </a:cubicBezTo>
                        <a:cubicBezTo>
                          <a:pt x="5787149" y="653091"/>
                          <a:pt x="5584496" y="651891"/>
                          <a:pt x="5220356" y="651631"/>
                        </a:cubicBezTo>
                        <a:cubicBezTo>
                          <a:pt x="4856216" y="651371"/>
                          <a:pt x="4900355" y="660370"/>
                          <a:pt x="4763575" y="651631"/>
                        </a:cubicBezTo>
                        <a:cubicBezTo>
                          <a:pt x="4626795" y="642892"/>
                          <a:pt x="4431621" y="671279"/>
                          <a:pt x="4111030" y="651631"/>
                        </a:cubicBezTo>
                        <a:cubicBezTo>
                          <a:pt x="3790440" y="631983"/>
                          <a:pt x="3616205" y="664948"/>
                          <a:pt x="3458486" y="651631"/>
                        </a:cubicBezTo>
                        <a:cubicBezTo>
                          <a:pt x="3300767" y="638314"/>
                          <a:pt x="3091954" y="678398"/>
                          <a:pt x="2871196" y="651631"/>
                        </a:cubicBezTo>
                        <a:cubicBezTo>
                          <a:pt x="2650438" y="624865"/>
                          <a:pt x="2544251" y="677094"/>
                          <a:pt x="2349160" y="651631"/>
                        </a:cubicBezTo>
                        <a:cubicBezTo>
                          <a:pt x="2154069" y="626168"/>
                          <a:pt x="1978874" y="640954"/>
                          <a:pt x="1631361" y="651631"/>
                        </a:cubicBezTo>
                        <a:cubicBezTo>
                          <a:pt x="1283848" y="662308"/>
                          <a:pt x="1197526" y="651764"/>
                          <a:pt x="978817" y="651631"/>
                        </a:cubicBezTo>
                        <a:cubicBezTo>
                          <a:pt x="760108" y="651498"/>
                          <a:pt x="436630" y="673391"/>
                          <a:pt x="0" y="651631"/>
                        </a:cubicBezTo>
                        <a:cubicBezTo>
                          <a:pt x="-27539" y="510994"/>
                          <a:pt x="-21059" y="227001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9997">
              <a:defRPr/>
            </a:pPr>
            <a:r>
              <a:rPr lang="ru-RU" sz="2625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Только уполномоченные сотрудники Компании</a:t>
            </a:r>
            <a:endParaRPr lang="ru-RU" sz="2100" dirty="0">
              <a:solidFill>
                <a:srgbClr val="F5F5F5">
                  <a:lumMod val="10000"/>
                </a:srgbClr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101F82-B03B-87E1-873F-0FB7383FC4D9}"/>
              </a:ext>
            </a:extLst>
          </p:cNvPr>
          <p:cNvSpPr/>
          <p:nvPr/>
        </p:nvSpPr>
        <p:spPr>
          <a:xfrm>
            <a:off x="6961087" y="6603358"/>
            <a:ext cx="8563137" cy="816165"/>
          </a:xfrm>
          <a:prstGeom prst="rect">
            <a:avLst/>
          </a:prstGeom>
          <a:ln>
            <a:extLst>
              <a:ext uri="{C807C97D-BFC1-408E-A445-0C87EB9F89A2}">
                <ask:lineSketchStyleProps xmlns:ask="http://schemas.microsoft.com/office/drawing/2018/sketchyshapes" xmlns="" sd="1218447764">
                  <a:custGeom>
                    <a:avLst/>
                    <a:gdLst>
                      <a:gd name="csX0" fmla="*/ 0 w 6525445"/>
                      <a:gd name="csY0" fmla="*/ 0 h 466517"/>
                      <a:gd name="csX1" fmla="*/ 783053 w 6525445"/>
                      <a:gd name="csY1" fmla="*/ 0 h 466517"/>
                      <a:gd name="csX2" fmla="*/ 1435598 w 6525445"/>
                      <a:gd name="csY2" fmla="*/ 0 h 466517"/>
                      <a:gd name="csX3" fmla="*/ 1957634 w 6525445"/>
                      <a:gd name="csY3" fmla="*/ 0 h 466517"/>
                      <a:gd name="csX4" fmla="*/ 2544924 w 6525445"/>
                      <a:gd name="csY4" fmla="*/ 0 h 466517"/>
                      <a:gd name="csX5" fmla="*/ 3327977 w 6525445"/>
                      <a:gd name="csY5" fmla="*/ 0 h 466517"/>
                      <a:gd name="csX6" fmla="*/ 3980521 w 6525445"/>
                      <a:gd name="csY6" fmla="*/ 0 h 466517"/>
                      <a:gd name="csX7" fmla="*/ 4763575 w 6525445"/>
                      <a:gd name="csY7" fmla="*/ 0 h 466517"/>
                      <a:gd name="csX8" fmla="*/ 5481374 w 6525445"/>
                      <a:gd name="csY8" fmla="*/ 0 h 466517"/>
                      <a:gd name="csX9" fmla="*/ 6525445 w 6525445"/>
                      <a:gd name="csY9" fmla="*/ 0 h 466517"/>
                      <a:gd name="csX10" fmla="*/ 6525445 w 6525445"/>
                      <a:gd name="csY10" fmla="*/ 466517 h 466517"/>
                      <a:gd name="csX11" fmla="*/ 5872901 w 6525445"/>
                      <a:gd name="csY11" fmla="*/ 466517 h 466517"/>
                      <a:gd name="csX12" fmla="*/ 5350865 w 6525445"/>
                      <a:gd name="csY12" fmla="*/ 466517 h 466517"/>
                      <a:gd name="csX13" fmla="*/ 4698320 w 6525445"/>
                      <a:gd name="csY13" fmla="*/ 466517 h 466517"/>
                      <a:gd name="csX14" fmla="*/ 4045776 w 6525445"/>
                      <a:gd name="csY14" fmla="*/ 466517 h 466517"/>
                      <a:gd name="csX15" fmla="*/ 3588995 w 6525445"/>
                      <a:gd name="csY15" fmla="*/ 466517 h 466517"/>
                      <a:gd name="csX16" fmla="*/ 2805941 w 6525445"/>
                      <a:gd name="csY16" fmla="*/ 466517 h 466517"/>
                      <a:gd name="csX17" fmla="*/ 2153397 w 6525445"/>
                      <a:gd name="csY17" fmla="*/ 466517 h 466517"/>
                      <a:gd name="csX18" fmla="*/ 1631361 w 6525445"/>
                      <a:gd name="csY18" fmla="*/ 466517 h 466517"/>
                      <a:gd name="csX19" fmla="*/ 1044071 w 6525445"/>
                      <a:gd name="csY19" fmla="*/ 466517 h 466517"/>
                      <a:gd name="csX20" fmla="*/ 0 w 6525445"/>
                      <a:gd name="csY20" fmla="*/ 466517 h 466517"/>
                      <a:gd name="csX21" fmla="*/ 0 w 6525445"/>
                      <a:gd name="csY21" fmla="*/ 0 h 46651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6525445" h="466517" fill="none" extrusionOk="0">
                        <a:moveTo>
                          <a:pt x="0" y="0"/>
                        </a:moveTo>
                        <a:cubicBezTo>
                          <a:pt x="323155" y="-24898"/>
                          <a:pt x="532965" y="589"/>
                          <a:pt x="783053" y="0"/>
                        </a:cubicBezTo>
                        <a:cubicBezTo>
                          <a:pt x="1033141" y="-589"/>
                          <a:pt x="1242863" y="8564"/>
                          <a:pt x="1435598" y="0"/>
                        </a:cubicBezTo>
                        <a:cubicBezTo>
                          <a:pt x="1628334" y="-8564"/>
                          <a:pt x="1800260" y="-16886"/>
                          <a:pt x="1957634" y="0"/>
                        </a:cubicBezTo>
                        <a:cubicBezTo>
                          <a:pt x="2115008" y="16886"/>
                          <a:pt x="2306795" y="-6715"/>
                          <a:pt x="2544924" y="0"/>
                        </a:cubicBezTo>
                        <a:cubicBezTo>
                          <a:pt x="2783053" y="6715"/>
                          <a:pt x="3168989" y="-28563"/>
                          <a:pt x="3327977" y="0"/>
                        </a:cubicBezTo>
                        <a:cubicBezTo>
                          <a:pt x="3486965" y="28563"/>
                          <a:pt x="3800824" y="29314"/>
                          <a:pt x="3980521" y="0"/>
                        </a:cubicBezTo>
                        <a:cubicBezTo>
                          <a:pt x="4160218" y="-29314"/>
                          <a:pt x="4379353" y="-22483"/>
                          <a:pt x="4763575" y="0"/>
                        </a:cubicBezTo>
                        <a:cubicBezTo>
                          <a:pt x="5147797" y="22483"/>
                          <a:pt x="5130417" y="11078"/>
                          <a:pt x="5481374" y="0"/>
                        </a:cubicBezTo>
                        <a:cubicBezTo>
                          <a:pt x="5832331" y="-11078"/>
                          <a:pt x="6125664" y="3315"/>
                          <a:pt x="6525445" y="0"/>
                        </a:cubicBezTo>
                        <a:cubicBezTo>
                          <a:pt x="6518198" y="231871"/>
                          <a:pt x="6527711" y="243634"/>
                          <a:pt x="6525445" y="466517"/>
                        </a:cubicBezTo>
                        <a:cubicBezTo>
                          <a:pt x="6393727" y="453380"/>
                          <a:pt x="6071055" y="473354"/>
                          <a:pt x="5872901" y="466517"/>
                        </a:cubicBezTo>
                        <a:cubicBezTo>
                          <a:pt x="5674747" y="459680"/>
                          <a:pt x="5484629" y="456664"/>
                          <a:pt x="5350865" y="466517"/>
                        </a:cubicBezTo>
                        <a:cubicBezTo>
                          <a:pt x="5217101" y="476370"/>
                          <a:pt x="4837982" y="461470"/>
                          <a:pt x="4698320" y="466517"/>
                        </a:cubicBezTo>
                        <a:cubicBezTo>
                          <a:pt x="4558658" y="471564"/>
                          <a:pt x="4314199" y="435036"/>
                          <a:pt x="4045776" y="466517"/>
                        </a:cubicBezTo>
                        <a:cubicBezTo>
                          <a:pt x="3777353" y="497998"/>
                          <a:pt x="3681793" y="472857"/>
                          <a:pt x="3588995" y="466517"/>
                        </a:cubicBezTo>
                        <a:cubicBezTo>
                          <a:pt x="3496197" y="460177"/>
                          <a:pt x="3037009" y="439652"/>
                          <a:pt x="2805941" y="466517"/>
                        </a:cubicBezTo>
                        <a:cubicBezTo>
                          <a:pt x="2574873" y="493382"/>
                          <a:pt x="2366829" y="454581"/>
                          <a:pt x="2153397" y="466517"/>
                        </a:cubicBezTo>
                        <a:cubicBezTo>
                          <a:pt x="1939965" y="478453"/>
                          <a:pt x="1872191" y="440550"/>
                          <a:pt x="1631361" y="466517"/>
                        </a:cubicBezTo>
                        <a:cubicBezTo>
                          <a:pt x="1390531" y="492484"/>
                          <a:pt x="1201469" y="450290"/>
                          <a:pt x="1044071" y="466517"/>
                        </a:cubicBezTo>
                        <a:cubicBezTo>
                          <a:pt x="886673" y="482745"/>
                          <a:pt x="299945" y="447792"/>
                          <a:pt x="0" y="466517"/>
                        </a:cubicBezTo>
                        <a:cubicBezTo>
                          <a:pt x="-10476" y="240456"/>
                          <a:pt x="13923" y="147420"/>
                          <a:pt x="0" y="0"/>
                        </a:cubicBezTo>
                        <a:close/>
                      </a:path>
                      <a:path w="6525445" h="466517" stroke="0" extrusionOk="0">
                        <a:moveTo>
                          <a:pt x="0" y="0"/>
                        </a:moveTo>
                        <a:cubicBezTo>
                          <a:pt x="176076" y="14537"/>
                          <a:pt x="443184" y="-254"/>
                          <a:pt x="587290" y="0"/>
                        </a:cubicBezTo>
                        <a:cubicBezTo>
                          <a:pt x="731396" y="254"/>
                          <a:pt x="1015850" y="16263"/>
                          <a:pt x="1370343" y="0"/>
                        </a:cubicBezTo>
                        <a:cubicBezTo>
                          <a:pt x="1724836" y="-16263"/>
                          <a:pt x="1782560" y="-33430"/>
                          <a:pt x="2153397" y="0"/>
                        </a:cubicBezTo>
                        <a:cubicBezTo>
                          <a:pt x="2524234" y="33430"/>
                          <a:pt x="2465504" y="-14386"/>
                          <a:pt x="2675432" y="0"/>
                        </a:cubicBezTo>
                        <a:cubicBezTo>
                          <a:pt x="2885360" y="14386"/>
                          <a:pt x="3045998" y="4442"/>
                          <a:pt x="3197468" y="0"/>
                        </a:cubicBezTo>
                        <a:cubicBezTo>
                          <a:pt x="3348938" y="-4442"/>
                          <a:pt x="3819508" y="33470"/>
                          <a:pt x="3980521" y="0"/>
                        </a:cubicBezTo>
                        <a:cubicBezTo>
                          <a:pt x="4141534" y="-33470"/>
                          <a:pt x="4264370" y="6267"/>
                          <a:pt x="4437303" y="0"/>
                        </a:cubicBezTo>
                        <a:cubicBezTo>
                          <a:pt x="4610236" y="-6267"/>
                          <a:pt x="5021708" y="-17431"/>
                          <a:pt x="5220356" y="0"/>
                        </a:cubicBezTo>
                        <a:cubicBezTo>
                          <a:pt x="5419004" y="17431"/>
                          <a:pt x="5531335" y="-16310"/>
                          <a:pt x="5677137" y="0"/>
                        </a:cubicBezTo>
                        <a:cubicBezTo>
                          <a:pt x="5822939" y="16310"/>
                          <a:pt x="6168348" y="28821"/>
                          <a:pt x="6525445" y="0"/>
                        </a:cubicBezTo>
                        <a:cubicBezTo>
                          <a:pt x="6510428" y="157517"/>
                          <a:pt x="6529347" y="259683"/>
                          <a:pt x="6525445" y="466517"/>
                        </a:cubicBezTo>
                        <a:cubicBezTo>
                          <a:pt x="6398626" y="469679"/>
                          <a:pt x="6164511" y="469085"/>
                          <a:pt x="6068664" y="466517"/>
                        </a:cubicBezTo>
                        <a:cubicBezTo>
                          <a:pt x="5972817" y="463949"/>
                          <a:pt x="5669820" y="437027"/>
                          <a:pt x="5350865" y="466517"/>
                        </a:cubicBezTo>
                        <a:cubicBezTo>
                          <a:pt x="5031910" y="496007"/>
                          <a:pt x="4870037" y="449821"/>
                          <a:pt x="4567812" y="466517"/>
                        </a:cubicBezTo>
                        <a:cubicBezTo>
                          <a:pt x="4265587" y="483213"/>
                          <a:pt x="4170712" y="485229"/>
                          <a:pt x="3784758" y="466517"/>
                        </a:cubicBezTo>
                        <a:cubicBezTo>
                          <a:pt x="3398804" y="447805"/>
                          <a:pt x="3228869" y="435815"/>
                          <a:pt x="3001705" y="466517"/>
                        </a:cubicBezTo>
                        <a:cubicBezTo>
                          <a:pt x="2774541" y="497219"/>
                          <a:pt x="2710160" y="458434"/>
                          <a:pt x="2544924" y="466517"/>
                        </a:cubicBezTo>
                        <a:cubicBezTo>
                          <a:pt x="2379688" y="474600"/>
                          <a:pt x="1949018" y="485713"/>
                          <a:pt x="1761870" y="466517"/>
                        </a:cubicBezTo>
                        <a:cubicBezTo>
                          <a:pt x="1574722" y="447321"/>
                          <a:pt x="1297705" y="460072"/>
                          <a:pt x="978817" y="466517"/>
                        </a:cubicBezTo>
                        <a:cubicBezTo>
                          <a:pt x="659929" y="472962"/>
                          <a:pt x="405953" y="427170"/>
                          <a:pt x="0" y="466517"/>
                        </a:cubicBezTo>
                        <a:cubicBezTo>
                          <a:pt x="17897" y="258577"/>
                          <a:pt x="2118" y="166591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9997">
              <a:defRPr/>
            </a:pPr>
            <a:r>
              <a:rPr lang="ru-RU" sz="2625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Сотрудничество только с ПО</a:t>
            </a:r>
            <a:r>
              <a:rPr lang="en-US" sz="2625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 </a:t>
            </a:r>
            <a:r>
              <a:rPr lang="en-US" sz="2100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(</a:t>
            </a:r>
            <a:r>
              <a:rPr lang="ru-RU" sz="2100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взаимодействие с отдельными пациентами не рекомендуется</a:t>
            </a:r>
            <a:r>
              <a:rPr lang="en-US" sz="2100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)</a:t>
            </a:r>
            <a:endParaRPr lang="ru-RU" sz="2625" dirty="0">
              <a:solidFill>
                <a:srgbClr val="F5F5F5">
                  <a:lumMod val="10000"/>
                </a:srgbClr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67021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34" grpId="0"/>
      <p:bldP spid="35" grpId="0"/>
      <p:bldP spid="41" grpId="0" animBg="1"/>
      <p:bldP spid="51" grpId="0" animBg="1"/>
      <p:bldP spid="59" grpId="0" animBg="1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48">
            <a:extLst>
              <a:ext uri="{FF2B5EF4-FFF2-40B4-BE49-F238E27FC236}">
                <a16:creationId xmlns:a16="http://schemas.microsoft.com/office/drawing/2014/main" id="{CD32E411-EB65-4AB3-0789-84B76E3EA41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12814" y="801691"/>
            <a:ext cx="15287625" cy="642936"/>
          </a:xfrm>
        </p:spPr>
        <p:txBody>
          <a:bodyPr>
            <a:noAutofit/>
          </a:bodyPr>
          <a:lstStyle/>
          <a:p>
            <a:r>
              <a:rPr lang="ru-RU" sz="3200" b="1" kern="100" dirty="0">
                <a:latin typeface="+mn-lt"/>
                <a:cs typeface="Times New Roman" panose="02020603050405020304" pitchFamily="18" charset="0"/>
              </a:rPr>
              <a:t>Главный принцип: пациент всегда в центре</a:t>
            </a:r>
            <a:endParaRPr lang="fr-FR" sz="3200" b="1" kern="1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2096936-9ADF-3070-7857-5FF2BEB6C686}"/>
              </a:ext>
            </a:extLst>
          </p:cNvPr>
          <p:cNvSpPr txBox="1"/>
          <p:nvPr/>
        </p:nvSpPr>
        <p:spPr>
          <a:xfrm>
            <a:off x="747070" y="1927912"/>
            <a:ext cx="15154602" cy="4617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0012"/>
            <a:r>
              <a:rPr lang="ru-RU" sz="2401" b="1" dirty="0">
                <a:solidFill>
                  <a:srgbClr val="002060"/>
                </a:solidFill>
                <a:latin typeface="Verdana"/>
              </a:rPr>
              <a:t>Взят курс на углубление взаимодействия индустрии с пациентским сообществом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06EA022-3686-BDD4-D04D-9FD591A3D23F}"/>
              </a:ext>
            </a:extLst>
          </p:cNvPr>
          <p:cNvSpPr txBox="1"/>
          <p:nvPr/>
        </p:nvSpPr>
        <p:spPr>
          <a:xfrm>
            <a:off x="6081894" y="3609700"/>
            <a:ext cx="4222979" cy="444331"/>
          </a:xfrm>
          <a:prstGeom prst="rect">
            <a:avLst/>
          </a:prstGeom>
          <a:noFill/>
        </p:spPr>
        <p:txBody>
          <a:bodyPr wrap="square" lIns="119994" tIns="59997" rIns="119994" bIns="59997" anchor="t">
            <a:spAutoFit/>
          </a:bodyPr>
          <a:lstStyle/>
          <a:p>
            <a:pPr marL="591678" algn="ctr" defTabSz="600012"/>
            <a:endParaRPr lang="en-US" sz="2100" dirty="0">
              <a:solidFill>
                <a:srgbClr val="F5F5F5">
                  <a:lumMod val="10000"/>
                </a:srgbClr>
              </a:solidFill>
              <a:latin typeface="Verdana"/>
              <a:ea typeface="Verdan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73F5EA-8DBF-70FF-DDC4-8B4F7C9CE6FE}"/>
              </a:ext>
            </a:extLst>
          </p:cNvPr>
          <p:cNvSpPr txBox="1"/>
          <p:nvPr/>
        </p:nvSpPr>
        <p:spPr>
          <a:xfrm>
            <a:off x="912088" y="5961799"/>
            <a:ext cx="473270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0012"/>
            <a:r>
              <a:rPr lang="ru-RU" sz="2100" dirty="0">
                <a:solidFill>
                  <a:prstClr val="black"/>
                </a:solidFill>
                <a:latin typeface="Verdana"/>
              </a:rPr>
              <a:t>Чтобы повышать качество жизни пациентов мы постоянно меняемся, ищем новые подходы и стремимся делать нашу работу </a:t>
            </a:r>
            <a:r>
              <a:rPr lang="ru-RU" sz="2100" b="1" dirty="0">
                <a:solidFill>
                  <a:srgbClr val="002060"/>
                </a:solidFill>
                <a:latin typeface="Verdana"/>
              </a:rPr>
              <a:t>еще более пациентоориентированной</a:t>
            </a:r>
            <a:r>
              <a:rPr lang="ru-RU" sz="2100" dirty="0">
                <a:solidFill>
                  <a:srgbClr val="002060"/>
                </a:solidFill>
                <a:latin typeface="Verdana"/>
              </a:rPr>
              <a:t> </a:t>
            </a:r>
          </a:p>
        </p:txBody>
      </p:sp>
      <p:sp>
        <p:nvSpPr>
          <p:cNvPr id="4" name="Полилиния: фигура 14">
            <a:extLst>
              <a:ext uri="{FF2B5EF4-FFF2-40B4-BE49-F238E27FC236}">
                <a16:creationId xmlns:a16="http://schemas.microsoft.com/office/drawing/2014/main" id="{2B8780B9-EB3F-78DD-CD36-6093E9202AD7}"/>
              </a:ext>
            </a:extLst>
          </p:cNvPr>
          <p:cNvSpPr/>
          <p:nvPr/>
        </p:nvSpPr>
        <p:spPr>
          <a:xfrm flipV="1">
            <a:off x="747071" y="3082073"/>
            <a:ext cx="4999951" cy="1547067"/>
          </a:xfrm>
          <a:custGeom>
            <a:avLst/>
            <a:gdLst>
              <a:gd name="connsiteX0" fmla="*/ 0 w 1508502"/>
              <a:gd name="connsiteY0" fmla="*/ 0 h 1901125"/>
              <a:gd name="connsiteX1" fmla="*/ 1508502 w 1508502"/>
              <a:gd name="connsiteY1" fmla="*/ 0 h 1901125"/>
              <a:gd name="connsiteX2" fmla="*/ 1508502 w 1508502"/>
              <a:gd name="connsiteY2" fmla="*/ 1901125 h 190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08502" h="1901125">
                <a:moveTo>
                  <a:pt x="0" y="0"/>
                </a:moveTo>
                <a:lnTo>
                  <a:pt x="1508502" y="0"/>
                </a:lnTo>
                <a:lnTo>
                  <a:pt x="1508502" y="1901125"/>
                </a:lnTo>
              </a:path>
            </a:pathLst>
          </a:custGeom>
          <a:noFill/>
          <a:ln w="9525" cap="rnd">
            <a:solidFill>
              <a:srgbClr val="6D6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99977">
              <a:defRPr/>
            </a:pPr>
            <a:endParaRPr lang="ru-RU" sz="3150">
              <a:solidFill>
                <a:prstClr val="white"/>
              </a:solidFill>
              <a:latin typeface="Sanofi Sans"/>
            </a:endParaRPr>
          </a:p>
        </p:txBody>
      </p:sp>
      <p:sp>
        <p:nvSpPr>
          <p:cNvPr id="11" name="Полилиния: фигура 14">
            <a:extLst>
              <a:ext uri="{FF2B5EF4-FFF2-40B4-BE49-F238E27FC236}">
                <a16:creationId xmlns:a16="http://schemas.microsoft.com/office/drawing/2014/main" id="{FA505666-EFEF-2DE7-4EF1-AEB674040AB7}"/>
              </a:ext>
            </a:extLst>
          </p:cNvPr>
          <p:cNvSpPr/>
          <p:nvPr/>
        </p:nvSpPr>
        <p:spPr>
          <a:xfrm flipV="1">
            <a:off x="912089" y="5961799"/>
            <a:ext cx="4834934" cy="2369276"/>
          </a:xfrm>
          <a:custGeom>
            <a:avLst/>
            <a:gdLst>
              <a:gd name="connsiteX0" fmla="*/ 0 w 1508502"/>
              <a:gd name="connsiteY0" fmla="*/ 0 h 1901125"/>
              <a:gd name="connsiteX1" fmla="*/ 1508502 w 1508502"/>
              <a:gd name="connsiteY1" fmla="*/ 0 h 1901125"/>
              <a:gd name="connsiteX2" fmla="*/ 1508502 w 1508502"/>
              <a:gd name="connsiteY2" fmla="*/ 1901125 h 190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08502" h="1901125">
                <a:moveTo>
                  <a:pt x="0" y="0"/>
                </a:moveTo>
                <a:lnTo>
                  <a:pt x="1508502" y="0"/>
                </a:lnTo>
                <a:lnTo>
                  <a:pt x="1508502" y="1901125"/>
                </a:lnTo>
              </a:path>
            </a:pathLst>
          </a:custGeom>
          <a:noFill/>
          <a:ln w="9525" cap="rnd">
            <a:solidFill>
              <a:srgbClr val="6D6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99977">
              <a:defRPr/>
            </a:pPr>
            <a:endParaRPr lang="ru-RU" sz="3150">
              <a:solidFill>
                <a:prstClr val="white"/>
              </a:solidFill>
              <a:latin typeface="Sanofi Sans"/>
            </a:endParaRPr>
          </a:p>
        </p:txBody>
      </p:sp>
      <p:pic>
        <p:nvPicPr>
          <p:cNvPr id="15" name="Picture 8">
            <a:extLst>
              <a:ext uri="{FF2B5EF4-FFF2-40B4-BE49-F238E27FC236}">
                <a16:creationId xmlns:a16="http://schemas.microsoft.com/office/drawing/2014/main" id="{20BB5585-9D11-56FA-520D-89062F36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30" y="3117216"/>
            <a:ext cx="3699030" cy="1703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Freeform 10">
            <a:extLst>
              <a:ext uri="{FF2B5EF4-FFF2-40B4-BE49-F238E27FC236}">
                <a16:creationId xmlns:a16="http://schemas.microsoft.com/office/drawing/2014/main" id="{952FF3FA-701C-1934-FC11-32C94E14524A}"/>
              </a:ext>
            </a:extLst>
          </p:cNvPr>
          <p:cNvSpPr>
            <a:spLocks/>
          </p:cNvSpPr>
          <p:nvPr/>
        </p:nvSpPr>
        <p:spPr bwMode="auto">
          <a:xfrm>
            <a:off x="6572231" y="3086624"/>
            <a:ext cx="3520638" cy="1509630"/>
          </a:xfrm>
          <a:custGeom>
            <a:avLst/>
            <a:gdLst>
              <a:gd name="T0" fmla="*/ 0 w 907"/>
              <a:gd name="T1" fmla="*/ 0 h 908"/>
              <a:gd name="T2" fmla="*/ 907 w 907"/>
              <a:gd name="T3" fmla="*/ 0 h 908"/>
              <a:gd name="T4" fmla="*/ 907 w 907"/>
              <a:gd name="T5" fmla="*/ 271 h 908"/>
              <a:gd name="T6" fmla="*/ 896 w 907"/>
              <a:gd name="T7" fmla="*/ 896 h 908"/>
              <a:gd name="T8" fmla="*/ 304 w 907"/>
              <a:gd name="T9" fmla="*/ 907 h 908"/>
              <a:gd name="T10" fmla="*/ 0 w 907"/>
              <a:gd name="T11" fmla="*/ 907 h 908"/>
              <a:gd name="T12" fmla="*/ 0 w 907"/>
              <a:gd name="T13" fmla="*/ 0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7" h="908">
                <a:moveTo>
                  <a:pt x="0" y="0"/>
                </a:moveTo>
                <a:cubicBezTo>
                  <a:pt x="907" y="0"/>
                  <a:pt x="907" y="0"/>
                  <a:pt x="907" y="0"/>
                </a:cubicBezTo>
                <a:cubicBezTo>
                  <a:pt x="907" y="0"/>
                  <a:pt x="907" y="166"/>
                  <a:pt x="907" y="271"/>
                </a:cubicBezTo>
                <a:cubicBezTo>
                  <a:pt x="906" y="515"/>
                  <a:pt x="896" y="896"/>
                  <a:pt x="896" y="896"/>
                </a:cubicBezTo>
                <a:cubicBezTo>
                  <a:pt x="896" y="896"/>
                  <a:pt x="535" y="906"/>
                  <a:pt x="304" y="907"/>
                </a:cubicBezTo>
                <a:cubicBezTo>
                  <a:pt x="185" y="908"/>
                  <a:pt x="0" y="907"/>
                  <a:pt x="0" y="90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391A3BF8-9FE2-1617-E6BF-4981E6FC1A2C}"/>
              </a:ext>
            </a:extLst>
          </p:cNvPr>
          <p:cNvSpPr txBox="1"/>
          <p:nvPr/>
        </p:nvSpPr>
        <p:spPr>
          <a:xfrm>
            <a:off x="6572231" y="3086624"/>
            <a:ext cx="3520638" cy="1380261"/>
          </a:xfrm>
          <a:prstGeom prst="rect">
            <a:avLst/>
          </a:prstGeom>
          <a:ln cap="rnd">
            <a:noFill/>
          </a:ln>
        </p:spPr>
        <p:txBody>
          <a:bodyPr vert="horz" lIns="0" tIns="141725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 defTabSz="600012">
              <a:buNone/>
            </a:pPr>
            <a:r>
              <a:rPr lang="ru-RU" sz="2100" dirty="0">
                <a:solidFill>
                  <a:prstClr val="black"/>
                </a:solidFill>
                <a:latin typeface="Verdana"/>
              </a:rPr>
              <a:t>Повышение осведомленности </a:t>
            </a:r>
            <a:br>
              <a:rPr lang="ru-RU" sz="2100" dirty="0">
                <a:solidFill>
                  <a:prstClr val="black"/>
                </a:solidFill>
                <a:latin typeface="Verdana"/>
              </a:rPr>
            </a:br>
            <a:r>
              <a:rPr lang="ru-RU" sz="2100" dirty="0">
                <a:solidFill>
                  <a:prstClr val="black"/>
                </a:solidFill>
                <a:latin typeface="Verdana"/>
              </a:rPr>
              <a:t>о компании-производителе</a:t>
            </a:r>
          </a:p>
        </p:txBody>
      </p:sp>
      <p:sp>
        <p:nvSpPr>
          <p:cNvPr id="18" name="AutoShape 3">
            <a:extLst>
              <a:ext uri="{FF2B5EF4-FFF2-40B4-BE49-F238E27FC236}">
                <a16:creationId xmlns:a16="http://schemas.microsoft.com/office/drawing/2014/main" id="{740CC58E-CAE7-A9C0-F35F-23AA515C47D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362065" y="4230194"/>
            <a:ext cx="839587" cy="559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19" name="Picture 8">
            <a:extLst>
              <a:ext uri="{FF2B5EF4-FFF2-40B4-BE49-F238E27FC236}">
                <a16:creationId xmlns:a16="http://schemas.microsoft.com/office/drawing/2014/main" id="{5152B27B-2013-7E19-3190-24027ABDA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3790" y="3150101"/>
            <a:ext cx="3699030" cy="1703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Freeform 10">
            <a:extLst>
              <a:ext uri="{FF2B5EF4-FFF2-40B4-BE49-F238E27FC236}">
                <a16:creationId xmlns:a16="http://schemas.microsoft.com/office/drawing/2014/main" id="{EB1D803C-D607-EEB8-D439-39D8F782322C}"/>
              </a:ext>
            </a:extLst>
          </p:cNvPr>
          <p:cNvSpPr>
            <a:spLocks/>
          </p:cNvSpPr>
          <p:nvPr/>
        </p:nvSpPr>
        <p:spPr bwMode="auto">
          <a:xfrm>
            <a:off x="12163790" y="3119509"/>
            <a:ext cx="3520638" cy="1509630"/>
          </a:xfrm>
          <a:custGeom>
            <a:avLst/>
            <a:gdLst>
              <a:gd name="T0" fmla="*/ 0 w 907"/>
              <a:gd name="T1" fmla="*/ 0 h 908"/>
              <a:gd name="T2" fmla="*/ 907 w 907"/>
              <a:gd name="T3" fmla="*/ 0 h 908"/>
              <a:gd name="T4" fmla="*/ 907 w 907"/>
              <a:gd name="T5" fmla="*/ 271 h 908"/>
              <a:gd name="T6" fmla="*/ 896 w 907"/>
              <a:gd name="T7" fmla="*/ 896 h 908"/>
              <a:gd name="T8" fmla="*/ 304 w 907"/>
              <a:gd name="T9" fmla="*/ 907 h 908"/>
              <a:gd name="T10" fmla="*/ 0 w 907"/>
              <a:gd name="T11" fmla="*/ 907 h 908"/>
              <a:gd name="T12" fmla="*/ 0 w 907"/>
              <a:gd name="T13" fmla="*/ 0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7" h="908">
                <a:moveTo>
                  <a:pt x="0" y="0"/>
                </a:moveTo>
                <a:cubicBezTo>
                  <a:pt x="907" y="0"/>
                  <a:pt x="907" y="0"/>
                  <a:pt x="907" y="0"/>
                </a:cubicBezTo>
                <a:cubicBezTo>
                  <a:pt x="907" y="0"/>
                  <a:pt x="907" y="166"/>
                  <a:pt x="907" y="271"/>
                </a:cubicBezTo>
                <a:cubicBezTo>
                  <a:pt x="906" y="515"/>
                  <a:pt x="896" y="896"/>
                  <a:pt x="896" y="896"/>
                </a:cubicBezTo>
                <a:cubicBezTo>
                  <a:pt x="896" y="896"/>
                  <a:pt x="535" y="906"/>
                  <a:pt x="304" y="907"/>
                </a:cubicBezTo>
                <a:cubicBezTo>
                  <a:pt x="185" y="908"/>
                  <a:pt x="0" y="907"/>
                  <a:pt x="0" y="90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1" name="ee4pContent1">
            <a:extLst>
              <a:ext uri="{FF2B5EF4-FFF2-40B4-BE49-F238E27FC236}">
                <a16:creationId xmlns:a16="http://schemas.microsoft.com/office/drawing/2014/main" id="{6DFE5386-FC9C-FF48-8534-505E8107EE9E}"/>
              </a:ext>
            </a:extLst>
          </p:cNvPr>
          <p:cNvSpPr txBox="1"/>
          <p:nvPr/>
        </p:nvSpPr>
        <p:spPr>
          <a:xfrm>
            <a:off x="12163790" y="3119509"/>
            <a:ext cx="3520638" cy="1380261"/>
          </a:xfrm>
          <a:prstGeom prst="rect">
            <a:avLst/>
          </a:prstGeom>
          <a:ln cap="rnd">
            <a:noFill/>
          </a:ln>
        </p:spPr>
        <p:txBody>
          <a:bodyPr vert="horz" lIns="0" tIns="141725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 defTabSz="600012">
              <a:buNone/>
            </a:pPr>
            <a:r>
              <a:rPr lang="ru-RU" sz="2100" dirty="0">
                <a:solidFill>
                  <a:prstClr val="black"/>
                </a:solidFill>
                <a:latin typeface="Verdana"/>
              </a:rPr>
              <a:t>Интенсификация </a:t>
            </a:r>
            <a:br>
              <a:rPr lang="ru-RU" sz="2100" dirty="0">
                <a:solidFill>
                  <a:prstClr val="black"/>
                </a:solidFill>
                <a:latin typeface="Verdana"/>
              </a:rPr>
            </a:br>
            <a:r>
              <a:rPr lang="ru-RU" sz="2100" dirty="0">
                <a:solidFill>
                  <a:prstClr val="black"/>
                </a:solidFill>
                <a:latin typeface="Verdana"/>
              </a:rPr>
              <a:t>обмена научной информацией</a:t>
            </a:r>
          </a:p>
        </p:txBody>
      </p:sp>
      <p:sp>
        <p:nvSpPr>
          <p:cNvPr id="23" name="AutoShape 3">
            <a:extLst>
              <a:ext uri="{FF2B5EF4-FFF2-40B4-BE49-F238E27FC236}">
                <a16:creationId xmlns:a16="http://schemas.microsoft.com/office/drawing/2014/main" id="{4FA420DB-F599-8885-3D85-3905D079509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953627" y="4263079"/>
            <a:ext cx="839587" cy="559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24" name="Picture 8">
            <a:extLst>
              <a:ext uri="{FF2B5EF4-FFF2-40B4-BE49-F238E27FC236}">
                <a16:creationId xmlns:a16="http://schemas.microsoft.com/office/drawing/2014/main" id="{3C7E8FC2-79C5-C3D7-D987-9FC3166FB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472" y="6658998"/>
            <a:ext cx="3699030" cy="1703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Freeform 10">
            <a:extLst>
              <a:ext uri="{FF2B5EF4-FFF2-40B4-BE49-F238E27FC236}">
                <a16:creationId xmlns:a16="http://schemas.microsoft.com/office/drawing/2014/main" id="{25340BBF-48A8-B3F1-576D-D378F3D37801}"/>
              </a:ext>
            </a:extLst>
          </p:cNvPr>
          <p:cNvSpPr>
            <a:spLocks/>
          </p:cNvSpPr>
          <p:nvPr/>
        </p:nvSpPr>
        <p:spPr bwMode="auto">
          <a:xfrm>
            <a:off x="6435472" y="6628406"/>
            <a:ext cx="3520638" cy="1509630"/>
          </a:xfrm>
          <a:custGeom>
            <a:avLst/>
            <a:gdLst>
              <a:gd name="T0" fmla="*/ 0 w 907"/>
              <a:gd name="T1" fmla="*/ 0 h 908"/>
              <a:gd name="T2" fmla="*/ 907 w 907"/>
              <a:gd name="T3" fmla="*/ 0 h 908"/>
              <a:gd name="T4" fmla="*/ 907 w 907"/>
              <a:gd name="T5" fmla="*/ 271 h 908"/>
              <a:gd name="T6" fmla="*/ 896 w 907"/>
              <a:gd name="T7" fmla="*/ 896 h 908"/>
              <a:gd name="T8" fmla="*/ 304 w 907"/>
              <a:gd name="T9" fmla="*/ 907 h 908"/>
              <a:gd name="T10" fmla="*/ 0 w 907"/>
              <a:gd name="T11" fmla="*/ 907 h 908"/>
              <a:gd name="T12" fmla="*/ 0 w 907"/>
              <a:gd name="T13" fmla="*/ 0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7" h="908">
                <a:moveTo>
                  <a:pt x="0" y="0"/>
                </a:moveTo>
                <a:cubicBezTo>
                  <a:pt x="907" y="0"/>
                  <a:pt x="907" y="0"/>
                  <a:pt x="907" y="0"/>
                </a:cubicBezTo>
                <a:cubicBezTo>
                  <a:pt x="907" y="0"/>
                  <a:pt x="907" y="166"/>
                  <a:pt x="907" y="271"/>
                </a:cubicBezTo>
                <a:cubicBezTo>
                  <a:pt x="906" y="515"/>
                  <a:pt x="896" y="896"/>
                  <a:pt x="896" y="896"/>
                </a:cubicBezTo>
                <a:cubicBezTo>
                  <a:pt x="896" y="896"/>
                  <a:pt x="535" y="906"/>
                  <a:pt x="304" y="907"/>
                </a:cubicBezTo>
                <a:cubicBezTo>
                  <a:pt x="185" y="908"/>
                  <a:pt x="0" y="907"/>
                  <a:pt x="0" y="90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6" name="ee4pContent1">
            <a:extLst>
              <a:ext uri="{FF2B5EF4-FFF2-40B4-BE49-F238E27FC236}">
                <a16:creationId xmlns:a16="http://schemas.microsoft.com/office/drawing/2014/main" id="{1B5F37C4-4F72-DD6B-5C15-0C3C120E9207}"/>
              </a:ext>
            </a:extLst>
          </p:cNvPr>
          <p:cNvSpPr txBox="1"/>
          <p:nvPr/>
        </p:nvSpPr>
        <p:spPr>
          <a:xfrm>
            <a:off x="6435472" y="6628407"/>
            <a:ext cx="3520638" cy="1380261"/>
          </a:xfrm>
          <a:prstGeom prst="rect">
            <a:avLst/>
          </a:prstGeom>
          <a:ln cap="rnd">
            <a:noFill/>
          </a:ln>
        </p:spPr>
        <p:txBody>
          <a:bodyPr vert="horz" lIns="0" tIns="141725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 defTabSz="600012">
              <a:buNone/>
            </a:pPr>
            <a:r>
              <a:rPr lang="ru-RU" sz="2100" dirty="0">
                <a:solidFill>
                  <a:prstClr val="black"/>
                </a:solidFill>
                <a:latin typeface="Verdana"/>
              </a:rPr>
              <a:t>Сбор и анализ </a:t>
            </a:r>
            <a:br>
              <a:rPr lang="ru-RU" sz="2100" dirty="0">
                <a:solidFill>
                  <a:prstClr val="black"/>
                </a:solidFill>
                <a:latin typeface="Verdana"/>
              </a:rPr>
            </a:br>
            <a:r>
              <a:rPr lang="ru-RU" sz="2100" dirty="0">
                <a:solidFill>
                  <a:prstClr val="black"/>
                </a:solidFill>
                <a:latin typeface="Verdana"/>
              </a:rPr>
              <a:t>обратной связи </a:t>
            </a:r>
            <a:br>
              <a:rPr lang="ru-RU" sz="2100" dirty="0">
                <a:solidFill>
                  <a:prstClr val="black"/>
                </a:solidFill>
                <a:latin typeface="Verdana"/>
              </a:rPr>
            </a:br>
            <a:r>
              <a:rPr lang="ru-RU" sz="2100" dirty="0">
                <a:solidFill>
                  <a:prstClr val="black"/>
                </a:solidFill>
                <a:latin typeface="Verdana"/>
              </a:rPr>
              <a:t>от пациентов</a:t>
            </a:r>
          </a:p>
        </p:txBody>
      </p:sp>
      <p:sp>
        <p:nvSpPr>
          <p:cNvPr id="27" name="AutoShape 3">
            <a:extLst>
              <a:ext uri="{FF2B5EF4-FFF2-40B4-BE49-F238E27FC236}">
                <a16:creationId xmlns:a16="http://schemas.microsoft.com/office/drawing/2014/main" id="{B9B35057-701E-BCB6-F2C5-799402BF6AE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225307" y="7771977"/>
            <a:ext cx="839587" cy="559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28" name="Picture 8">
            <a:extLst>
              <a:ext uri="{FF2B5EF4-FFF2-40B4-BE49-F238E27FC236}">
                <a16:creationId xmlns:a16="http://schemas.microsoft.com/office/drawing/2014/main" id="{947DF3AC-31F0-F2A1-B236-5BEF6AD62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2895" y="6722477"/>
            <a:ext cx="3699030" cy="1703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Freeform 10">
            <a:extLst>
              <a:ext uri="{FF2B5EF4-FFF2-40B4-BE49-F238E27FC236}">
                <a16:creationId xmlns:a16="http://schemas.microsoft.com/office/drawing/2014/main" id="{3E670317-08B2-D7EA-1269-FBA9C3036F12}"/>
              </a:ext>
            </a:extLst>
          </p:cNvPr>
          <p:cNvSpPr>
            <a:spLocks/>
          </p:cNvSpPr>
          <p:nvPr/>
        </p:nvSpPr>
        <p:spPr bwMode="auto">
          <a:xfrm>
            <a:off x="12032895" y="6691883"/>
            <a:ext cx="3520638" cy="1509630"/>
          </a:xfrm>
          <a:custGeom>
            <a:avLst/>
            <a:gdLst>
              <a:gd name="T0" fmla="*/ 0 w 907"/>
              <a:gd name="T1" fmla="*/ 0 h 908"/>
              <a:gd name="T2" fmla="*/ 907 w 907"/>
              <a:gd name="T3" fmla="*/ 0 h 908"/>
              <a:gd name="T4" fmla="*/ 907 w 907"/>
              <a:gd name="T5" fmla="*/ 271 h 908"/>
              <a:gd name="T6" fmla="*/ 896 w 907"/>
              <a:gd name="T7" fmla="*/ 896 h 908"/>
              <a:gd name="T8" fmla="*/ 304 w 907"/>
              <a:gd name="T9" fmla="*/ 907 h 908"/>
              <a:gd name="T10" fmla="*/ 0 w 907"/>
              <a:gd name="T11" fmla="*/ 907 h 908"/>
              <a:gd name="T12" fmla="*/ 0 w 907"/>
              <a:gd name="T13" fmla="*/ 0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7" h="908">
                <a:moveTo>
                  <a:pt x="0" y="0"/>
                </a:moveTo>
                <a:cubicBezTo>
                  <a:pt x="907" y="0"/>
                  <a:pt x="907" y="0"/>
                  <a:pt x="907" y="0"/>
                </a:cubicBezTo>
                <a:cubicBezTo>
                  <a:pt x="907" y="0"/>
                  <a:pt x="907" y="166"/>
                  <a:pt x="907" y="271"/>
                </a:cubicBezTo>
                <a:cubicBezTo>
                  <a:pt x="906" y="515"/>
                  <a:pt x="896" y="896"/>
                  <a:pt x="896" y="896"/>
                </a:cubicBezTo>
                <a:cubicBezTo>
                  <a:pt x="896" y="896"/>
                  <a:pt x="535" y="906"/>
                  <a:pt x="304" y="907"/>
                </a:cubicBezTo>
                <a:cubicBezTo>
                  <a:pt x="185" y="908"/>
                  <a:pt x="0" y="907"/>
                  <a:pt x="0" y="90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0" name="ee4pContent1">
            <a:extLst>
              <a:ext uri="{FF2B5EF4-FFF2-40B4-BE49-F238E27FC236}">
                <a16:creationId xmlns:a16="http://schemas.microsoft.com/office/drawing/2014/main" id="{B1DC2495-DB34-0F27-4A9E-1E9CA92825A2}"/>
              </a:ext>
            </a:extLst>
          </p:cNvPr>
          <p:cNvSpPr txBox="1"/>
          <p:nvPr/>
        </p:nvSpPr>
        <p:spPr>
          <a:xfrm>
            <a:off x="12032895" y="6691885"/>
            <a:ext cx="3520638" cy="1380261"/>
          </a:xfrm>
          <a:prstGeom prst="rect">
            <a:avLst/>
          </a:prstGeom>
          <a:ln cap="rnd">
            <a:noFill/>
          </a:ln>
        </p:spPr>
        <p:txBody>
          <a:bodyPr vert="horz" lIns="0" tIns="141725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 defTabSz="600012">
              <a:buNone/>
            </a:pPr>
            <a:r>
              <a:rPr lang="ru-RU" sz="2100" dirty="0">
                <a:solidFill>
                  <a:prstClr val="black"/>
                </a:solidFill>
                <a:latin typeface="Verdana"/>
              </a:rPr>
              <a:t>Фокус </a:t>
            </a:r>
            <a:br>
              <a:rPr lang="ru-RU" sz="2100" dirty="0">
                <a:solidFill>
                  <a:prstClr val="black"/>
                </a:solidFill>
                <a:latin typeface="Verdana"/>
              </a:rPr>
            </a:br>
            <a:r>
              <a:rPr lang="ru-RU" sz="2100" dirty="0">
                <a:solidFill>
                  <a:prstClr val="black"/>
                </a:solidFill>
                <a:latin typeface="Verdana"/>
              </a:rPr>
              <a:t>на незакрытые потребности пациентов</a:t>
            </a:r>
          </a:p>
        </p:txBody>
      </p:sp>
      <p:sp>
        <p:nvSpPr>
          <p:cNvPr id="31" name="AutoShape 3">
            <a:extLst>
              <a:ext uri="{FF2B5EF4-FFF2-40B4-BE49-F238E27FC236}">
                <a16:creationId xmlns:a16="http://schemas.microsoft.com/office/drawing/2014/main" id="{274B61D4-A4C2-7514-B3F7-1BF80FD3D27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822730" y="7835456"/>
            <a:ext cx="839587" cy="559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33" name="Picture 8" descr="Office illustration 6">
            <a:extLst>
              <a:ext uri="{FF2B5EF4-FFF2-40B4-BE49-F238E27FC236}">
                <a16:creationId xmlns:a16="http://schemas.microsoft.com/office/drawing/2014/main" id="{CF6CFAA5-5061-3F5B-69FA-30EBFBDEC7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2570" y="4027317"/>
            <a:ext cx="4999951" cy="281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1F509E3-5148-6754-13E6-F5F8DEF3D3E5}"/>
              </a:ext>
            </a:extLst>
          </p:cNvPr>
          <p:cNvSpPr txBox="1"/>
          <p:nvPr/>
        </p:nvSpPr>
        <p:spPr>
          <a:xfrm>
            <a:off x="747070" y="3223034"/>
            <a:ext cx="4732703" cy="8312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401" dirty="0">
                <a:solidFill>
                  <a:srgbClr val="002060"/>
                </a:solidFill>
                <a:latin typeface="Sanofi Serif Italic" panose="02060503060201090102" pitchFamily="18" charset="0"/>
              </a:rPr>
              <a:t>Партнёрство и диалог: </a:t>
            </a:r>
          </a:p>
          <a:p>
            <a:pPr lvl="0">
              <a:defRPr/>
            </a:pPr>
            <a:r>
              <a:rPr lang="ru-RU" sz="2401" dirty="0">
                <a:solidFill>
                  <a:srgbClr val="002060"/>
                </a:solidFill>
                <a:latin typeface="Sanofi Serif Italic" panose="02060503060201090102" pitchFamily="18" charset="0"/>
              </a:rPr>
              <a:t>Вместе </a:t>
            </a:r>
            <a:r>
              <a:rPr lang="en-US" sz="2401" dirty="0">
                <a:solidFill>
                  <a:srgbClr val="002060"/>
                </a:solidFill>
                <a:latin typeface="Sanofi Serif Italic" panose="02060503060201090102" pitchFamily="18" charset="0"/>
              </a:rPr>
              <a:t>— </a:t>
            </a:r>
            <a:r>
              <a:rPr lang="ru-RU" sz="2401" dirty="0">
                <a:solidFill>
                  <a:srgbClr val="002060"/>
                </a:solidFill>
                <a:latin typeface="Sanofi Serif Italic" panose="02060503060201090102" pitchFamily="18" charset="0"/>
              </a:rPr>
              <a:t>ради пациента</a:t>
            </a:r>
          </a:p>
        </p:txBody>
      </p:sp>
      <p:pic>
        <p:nvPicPr>
          <p:cNvPr id="8" name="Graphic 7" descr="Call center with solid fill">
            <a:extLst>
              <a:ext uri="{FF2B5EF4-FFF2-40B4-BE49-F238E27FC236}">
                <a16:creationId xmlns:a16="http://schemas.microsoft.com/office/drawing/2014/main" id="{2AE1860E-5598-81D2-E75B-81FE9248C19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415154" y="4887487"/>
            <a:ext cx="914401" cy="91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43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/>
      <p:bldP spid="18" grpId="0"/>
      <p:bldP spid="20" grpId="0" animBg="1"/>
      <p:bldP spid="21" grpId="0"/>
      <p:bldP spid="23" grpId="0"/>
      <p:bldP spid="25" grpId="0" animBg="1"/>
      <p:bldP spid="26" grpId="0"/>
      <p:bldP spid="27" grpId="0"/>
      <p:bldP spid="29" grpId="0" animBg="1"/>
      <p:bldP spid="30" grpId="0"/>
      <p:bldP spid="3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12C37-DEBB-2753-2B78-6EEE53DDFC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D36B502-E131-93F6-6C11-9339F6AA978A}"/>
              </a:ext>
            </a:extLst>
          </p:cNvPr>
          <p:cNvSpPr/>
          <p:nvPr/>
        </p:nvSpPr>
        <p:spPr>
          <a:xfrm>
            <a:off x="230037" y="81626"/>
            <a:ext cx="15740367" cy="8623107"/>
          </a:xfrm>
          <a:prstGeom prst="roundRect">
            <a:avLst>
              <a:gd name="adj" fmla="val 662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99997">
              <a:defRPr/>
            </a:pPr>
            <a:endParaRPr lang="ru-RU" sz="1773">
              <a:solidFill>
                <a:prstClr val="black"/>
              </a:solidFill>
              <a:latin typeface="Verdana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615F577-4306-09E4-97EB-B40164483FB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17362" y="315912"/>
            <a:ext cx="15079664" cy="977901"/>
          </a:xfrm>
        </p:spPr>
        <p:txBody>
          <a:bodyPr>
            <a:normAutofit fontScale="90000"/>
          </a:bodyPr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600" b="1" kern="100" dirty="0">
                <a:solidFill>
                  <a:schemeClr val="accent1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Взаимодействие с пациентскими организациями (ПО):</a:t>
            </a:r>
            <a:r>
              <a:rPr lang="ru-RU" sz="3544" b="1" kern="100" dirty="0">
                <a:solidFill>
                  <a:schemeClr val="accent1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lang="ru-RU" sz="3544" b="1" kern="100" dirty="0">
                <a:solidFill>
                  <a:schemeClr val="accent1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ru-RU" sz="2886" kern="100" dirty="0">
                <a:solidFill>
                  <a:schemeClr val="accent1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краткий обзор разрешенных и запрещенных видов деятельности</a:t>
            </a:r>
            <a:r>
              <a:rPr lang="en-US" sz="2886" b="1" kern="100" dirty="0">
                <a:solidFill>
                  <a:schemeClr val="accent1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lang="en-US" sz="2886" b="1" kern="100" dirty="0">
                <a:solidFill>
                  <a:schemeClr val="accent1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</a:br>
            <a:endParaRPr lang="en-US" sz="2886" b="1" kern="100" dirty="0">
              <a:solidFill>
                <a:schemeClr val="accent1"/>
              </a:solidFill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71B792B-D885-1A3A-87EF-26D3AC24EB0B}"/>
              </a:ext>
            </a:extLst>
          </p:cNvPr>
          <p:cNvSpPr txBox="1"/>
          <p:nvPr/>
        </p:nvSpPr>
        <p:spPr>
          <a:xfrm>
            <a:off x="10222431" y="11758405"/>
            <a:ext cx="3632731" cy="94045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1663" defTabSz="599997">
              <a:defRPr/>
            </a:pPr>
            <a:endParaRPr lang="ru-RU" sz="1837">
              <a:solidFill>
                <a:srgbClr val="F5F5F5">
                  <a:lumMod val="10000"/>
                </a:srgbClr>
              </a:solidFill>
              <a:latin typeface="Verdana"/>
            </a:endParaRPr>
          </a:p>
          <a:p>
            <a:pPr marL="591663" algn="ctr" defTabSz="599997">
              <a:defRPr/>
            </a:pPr>
            <a:r>
              <a:rPr lang="en-US" sz="1837">
                <a:solidFill>
                  <a:srgbClr val="F5F5F5">
                    <a:lumMod val="10000"/>
                  </a:srgbClr>
                </a:solidFill>
                <a:latin typeface="Verdana"/>
              </a:rPr>
              <a:t>Regular exchange of current scientific data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A593E96-107C-BCF7-DE49-05CE657970B9}"/>
              </a:ext>
            </a:extLst>
          </p:cNvPr>
          <p:cNvSpPr txBox="1"/>
          <p:nvPr/>
        </p:nvSpPr>
        <p:spPr>
          <a:xfrm>
            <a:off x="5462333" y="13193822"/>
            <a:ext cx="3692140" cy="969283"/>
          </a:xfrm>
          <a:prstGeom prst="rect">
            <a:avLst/>
          </a:prstGeom>
          <a:noFill/>
        </p:spPr>
        <p:txBody>
          <a:bodyPr wrap="square" lIns="119994" tIns="59997" rIns="119994" bIns="59997" anchor="t">
            <a:spAutoFit/>
          </a:bodyPr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1663" algn="ctr" defTabSz="599997">
              <a:defRPr/>
            </a:pPr>
            <a:endParaRPr lang="ru-RU" sz="1837">
              <a:solidFill>
                <a:srgbClr val="F5F5F5">
                  <a:lumMod val="10000"/>
                </a:srgbClr>
              </a:solidFill>
              <a:latin typeface="Verdana"/>
            </a:endParaRPr>
          </a:p>
          <a:p>
            <a:pPr algn="ctr" defTabSz="599997">
              <a:defRPr/>
            </a:pPr>
            <a:r>
              <a:rPr lang="en-US" sz="1837">
                <a:solidFill>
                  <a:srgbClr val="F5F5F5">
                    <a:lumMod val="10000"/>
                  </a:srgbClr>
                </a:solidFill>
                <a:latin typeface="Verdana"/>
              </a:rPr>
              <a:t>Improvement of patient </a:t>
            </a:r>
            <a:r>
              <a:rPr lang="en-US" sz="1837">
                <a:solidFill>
                  <a:prstClr val="black"/>
                </a:solidFill>
                <a:latin typeface="Verdana"/>
              </a:rPr>
              <a:t/>
            </a:r>
            <a:br>
              <a:rPr lang="en-US" sz="1837">
                <a:solidFill>
                  <a:prstClr val="black"/>
                </a:solidFill>
                <a:latin typeface="Verdana"/>
              </a:rPr>
            </a:br>
            <a:r>
              <a:rPr lang="en-US" sz="1837">
                <a:solidFill>
                  <a:srgbClr val="F5F5F5">
                    <a:lumMod val="10000"/>
                  </a:srgbClr>
                </a:solidFill>
                <a:latin typeface="Verdana"/>
              </a:rPr>
              <a:t>awareness about Sanofi</a:t>
            </a:r>
            <a:endParaRPr lang="en-US" sz="1837">
              <a:solidFill>
                <a:srgbClr val="F5F5F5">
                  <a:lumMod val="10000"/>
                </a:srgbClr>
              </a:solidFill>
              <a:latin typeface="Verdana"/>
              <a:ea typeface="Verdana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8C10646-9BDF-D3CE-0489-FDCE6E2694FE}"/>
              </a:ext>
            </a:extLst>
          </p:cNvPr>
          <p:cNvSpPr txBox="1"/>
          <p:nvPr/>
        </p:nvSpPr>
        <p:spPr>
          <a:xfrm>
            <a:off x="10066835" y="13221421"/>
            <a:ext cx="4078294" cy="94045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1663" algn="ctr" defTabSz="599997">
              <a:defRPr/>
            </a:pPr>
            <a:endParaRPr lang="ru-RU" sz="1837">
              <a:solidFill>
                <a:srgbClr val="F5F5F5">
                  <a:lumMod val="10000"/>
                </a:srgbClr>
              </a:solidFill>
              <a:latin typeface="Verdana"/>
            </a:endParaRPr>
          </a:p>
          <a:p>
            <a:pPr marL="591663" algn="ctr" defTabSz="599997">
              <a:defRPr/>
            </a:pPr>
            <a:r>
              <a:rPr lang="en-US" sz="1837">
                <a:solidFill>
                  <a:srgbClr val="F5F5F5">
                    <a:lumMod val="10000"/>
                  </a:srgbClr>
                </a:solidFill>
                <a:latin typeface="Verdana"/>
              </a:rPr>
              <a:t>Increased satisfaction of PAGs by work with Sanofi</a:t>
            </a:r>
            <a:endParaRPr lang="ru-RU" sz="1837">
              <a:solidFill>
                <a:srgbClr val="F5F5F5">
                  <a:lumMod val="10000"/>
                </a:srgbClr>
              </a:solidFill>
              <a:latin typeface="Verdana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205DAA5-F45E-6F00-A680-ADACF3ECDB01}"/>
              </a:ext>
            </a:extLst>
          </p:cNvPr>
          <p:cNvSpPr/>
          <p:nvPr/>
        </p:nvSpPr>
        <p:spPr>
          <a:xfrm>
            <a:off x="5595336" y="11908181"/>
            <a:ext cx="3501967" cy="930565"/>
          </a:xfrm>
          <a:custGeom>
            <a:avLst/>
            <a:gdLst>
              <a:gd name="csX0" fmla="*/ 0 w 3501967"/>
              <a:gd name="csY0" fmla="*/ 0 h 930565"/>
              <a:gd name="csX1" fmla="*/ 548641 w 3501967"/>
              <a:gd name="csY1" fmla="*/ 0 h 930565"/>
              <a:gd name="csX2" fmla="*/ 1202342 w 3501967"/>
              <a:gd name="csY2" fmla="*/ 0 h 930565"/>
              <a:gd name="csX3" fmla="*/ 1856043 w 3501967"/>
              <a:gd name="csY3" fmla="*/ 0 h 930565"/>
              <a:gd name="csX4" fmla="*/ 2369664 w 3501967"/>
              <a:gd name="csY4" fmla="*/ 0 h 930565"/>
              <a:gd name="csX5" fmla="*/ 2883286 w 3501967"/>
              <a:gd name="csY5" fmla="*/ 0 h 930565"/>
              <a:gd name="csX6" fmla="*/ 3501967 w 3501967"/>
              <a:gd name="csY6" fmla="*/ 0 h 930565"/>
              <a:gd name="csX7" fmla="*/ 3501967 w 3501967"/>
              <a:gd name="csY7" fmla="*/ 437366 h 930565"/>
              <a:gd name="csX8" fmla="*/ 3501967 w 3501967"/>
              <a:gd name="csY8" fmla="*/ 930565 h 930565"/>
              <a:gd name="csX9" fmla="*/ 2918306 w 3501967"/>
              <a:gd name="csY9" fmla="*/ 930565 h 930565"/>
              <a:gd name="csX10" fmla="*/ 2264605 w 3501967"/>
              <a:gd name="csY10" fmla="*/ 930565 h 930565"/>
              <a:gd name="csX11" fmla="*/ 1750984 w 3501967"/>
              <a:gd name="csY11" fmla="*/ 930565 h 930565"/>
              <a:gd name="csX12" fmla="*/ 1097283 w 3501967"/>
              <a:gd name="csY12" fmla="*/ 930565 h 930565"/>
              <a:gd name="csX13" fmla="*/ 0 w 3501967"/>
              <a:gd name="csY13" fmla="*/ 930565 h 930565"/>
              <a:gd name="csX14" fmla="*/ 0 w 3501967"/>
              <a:gd name="csY14" fmla="*/ 446671 h 930565"/>
              <a:gd name="csX15" fmla="*/ 0 w 3501967"/>
              <a:gd name="csY15" fmla="*/ 0 h 9305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501967" h="930565" extrusionOk="0">
                <a:moveTo>
                  <a:pt x="0" y="0"/>
                </a:moveTo>
                <a:cubicBezTo>
                  <a:pt x="223346" y="5778"/>
                  <a:pt x="283680" y="-8828"/>
                  <a:pt x="548641" y="0"/>
                </a:cubicBezTo>
                <a:cubicBezTo>
                  <a:pt x="813602" y="8828"/>
                  <a:pt x="921966" y="-4122"/>
                  <a:pt x="1202342" y="0"/>
                </a:cubicBezTo>
                <a:cubicBezTo>
                  <a:pt x="1482718" y="4122"/>
                  <a:pt x="1690918" y="8518"/>
                  <a:pt x="1856043" y="0"/>
                </a:cubicBezTo>
                <a:cubicBezTo>
                  <a:pt x="2021168" y="-8518"/>
                  <a:pt x="2263787" y="22510"/>
                  <a:pt x="2369664" y="0"/>
                </a:cubicBezTo>
                <a:cubicBezTo>
                  <a:pt x="2475541" y="-22510"/>
                  <a:pt x="2746038" y="-17004"/>
                  <a:pt x="2883286" y="0"/>
                </a:cubicBezTo>
                <a:cubicBezTo>
                  <a:pt x="3020534" y="17004"/>
                  <a:pt x="3248046" y="-11686"/>
                  <a:pt x="3501967" y="0"/>
                </a:cubicBezTo>
                <a:cubicBezTo>
                  <a:pt x="3521765" y="169712"/>
                  <a:pt x="3505756" y="276429"/>
                  <a:pt x="3501967" y="437366"/>
                </a:cubicBezTo>
                <a:cubicBezTo>
                  <a:pt x="3498178" y="598303"/>
                  <a:pt x="3505258" y="706815"/>
                  <a:pt x="3501967" y="930565"/>
                </a:cubicBezTo>
                <a:cubicBezTo>
                  <a:pt x="3212201" y="916093"/>
                  <a:pt x="3068654" y="937949"/>
                  <a:pt x="2918306" y="930565"/>
                </a:cubicBezTo>
                <a:cubicBezTo>
                  <a:pt x="2767958" y="923181"/>
                  <a:pt x="2563651" y="928787"/>
                  <a:pt x="2264605" y="930565"/>
                </a:cubicBezTo>
                <a:cubicBezTo>
                  <a:pt x="1965559" y="932343"/>
                  <a:pt x="1998004" y="925302"/>
                  <a:pt x="1750984" y="930565"/>
                </a:cubicBezTo>
                <a:cubicBezTo>
                  <a:pt x="1503964" y="935828"/>
                  <a:pt x="1297081" y="958638"/>
                  <a:pt x="1097283" y="930565"/>
                </a:cubicBezTo>
                <a:cubicBezTo>
                  <a:pt x="897485" y="902492"/>
                  <a:pt x="346301" y="883087"/>
                  <a:pt x="0" y="930565"/>
                </a:cubicBezTo>
                <a:cubicBezTo>
                  <a:pt x="8311" y="798850"/>
                  <a:pt x="-859" y="665768"/>
                  <a:pt x="0" y="446671"/>
                </a:cubicBezTo>
                <a:cubicBezTo>
                  <a:pt x="859" y="227574"/>
                  <a:pt x="-21153" y="125290"/>
                  <a:pt x="0" y="0"/>
                </a:cubicBezTo>
                <a:close/>
              </a:path>
            </a:pathLst>
          </a:custGeom>
          <a:noFill/>
          <a:ln w="19050">
            <a:solidFill>
              <a:srgbClr val="7A00E6"/>
            </a:solidFill>
            <a:extLst>
              <a:ext uri="{C807C97D-BFC1-408E-A445-0C87EB9F89A2}">
                <ask:lineSketchStyleProps xmlns:ask="http://schemas.microsoft.com/office/drawing/2018/sketchyshapes" xmlns="" sd="1218447764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99997">
              <a:defRPr/>
            </a:pPr>
            <a:endParaRPr lang="ru-RU" sz="1773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02E34704-47E1-04AE-BB69-9244ED4E3CB9}"/>
              </a:ext>
            </a:extLst>
          </p:cNvPr>
          <p:cNvSpPr txBox="1">
            <a:spLocks/>
          </p:cNvSpPr>
          <p:nvPr/>
        </p:nvSpPr>
        <p:spPr>
          <a:xfrm>
            <a:off x="480323" y="1217843"/>
            <a:ext cx="2595813" cy="515791"/>
          </a:xfrm>
          <a:prstGeom prst="rect">
            <a:avLst/>
          </a:prstGeom>
        </p:spPr>
        <p:txBody>
          <a:bodyPr anchor="ctr"/>
          <a:lstStyle>
            <a:lvl1pPr marL="0" indent="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68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40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005840" indent="-285750" algn="l" defTabSz="68580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199993">
              <a:defRPr/>
            </a:pPr>
            <a:r>
              <a:rPr lang="ru-RU" sz="3150" b="1" dirty="0">
                <a:solidFill>
                  <a:srgbClr val="1D6400"/>
                </a:solidFill>
              </a:rPr>
              <a:t>Разрешено</a:t>
            </a:r>
            <a:endParaRPr lang="en-US" sz="3150" b="1" dirty="0">
              <a:solidFill>
                <a:srgbClr val="1D6400"/>
              </a:solidFill>
            </a:endParaRPr>
          </a:p>
        </p:txBody>
      </p:sp>
      <p:sp>
        <p:nvSpPr>
          <p:cNvPr id="18" name="Text Placeholder 119">
            <a:extLst>
              <a:ext uri="{FF2B5EF4-FFF2-40B4-BE49-F238E27FC236}">
                <a16:creationId xmlns:a16="http://schemas.microsoft.com/office/drawing/2014/main" id="{4D883D8B-3136-0801-9EAD-15DF08B89CF4}"/>
              </a:ext>
            </a:extLst>
          </p:cNvPr>
          <p:cNvSpPr txBox="1">
            <a:spLocks/>
          </p:cNvSpPr>
          <p:nvPr/>
        </p:nvSpPr>
        <p:spPr>
          <a:xfrm>
            <a:off x="7564247" y="1207229"/>
            <a:ext cx="3591813" cy="515791"/>
          </a:xfrm>
          <a:prstGeom prst="rect">
            <a:avLst/>
          </a:prstGeom>
        </p:spPr>
        <p:txBody>
          <a:bodyPr anchor="ctr"/>
          <a:lstStyle>
            <a:lvl1pPr marL="0" indent="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68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40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005840" indent="-285750" algn="l" defTabSz="68580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Sanofi Sans" panose="02010503030201020103" pitchFamily="2" charset="77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199993">
              <a:defRPr/>
            </a:pPr>
            <a:r>
              <a:rPr lang="ru-RU" sz="3150" b="1" dirty="0">
                <a:solidFill>
                  <a:srgbClr val="A32C10"/>
                </a:solidFill>
              </a:rPr>
              <a:t>Запрещено</a:t>
            </a:r>
            <a:endParaRPr lang="en-US" sz="3150" b="1" dirty="0">
              <a:solidFill>
                <a:srgbClr val="A32C1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7C5A9C-FB42-D898-33B9-BF89247204CF}"/>
              </a:ext>
            </a:extLst>
          </p:cNvPr>
          <p:cNvSpPr txBox="1"/>
          <p:nvPr/>
        </p:nvSpPr>
        <p:spPr>
          <a:xfrm>
            <a:off x="356619" y="1859922"/>
            <a:ext cx="7081048" cy="5995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Получение услуги на основе справедливой рыночной стоимости:</a:t>
            </a:r>
          </a:p>
          <a:p>
            <a:pPr marL="1050020" lvl="1" indent="-450010" defTabSz="120002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выступления</a:t>
            </a:r>
          </a:p>
          <a:p>
            <a:pPr marL="1050020" lvl="1" indent="-450010" defTabSz="120002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консультации</a:t>
            </a:r>
          </a:p>
          <a:p>
            <a:pPr marL="1050020" lvl="1" indent="-450010" defTabSz="120002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экспертная помощь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Пожертвования на развитие здравоохранение Благотворительные пожертвования (в соответствии с КСО)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Сотрудничество в рамках совместных проектов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Научный обмен (в ответ на запрос ПО по незарегистированным препаратам)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Поддержка мероприятий и конгрессов (спонсорство)</a:t>
            </a:r>
            <a:endParaRPr lang="en-US" sz="1967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F97DDD-CC5D-8B2C-838F-430613467E18}"/>
              </a:ext>
            </a:extLst>
          </p:cNvPr>
          <p:cNvSpPr txBox="1"/>
          <p:nvPr/>
        </p:nvSpPr>
        <p:spPr>
          <a:xfrm>
            <a:off x="7564247" y="1859922"/>
            <a:ext cx="8279575" cy="6449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Взаимодействие с ПО в коммерческих или рекламных целях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Влияние на решения о назначении или покупке лекарств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Прямая поддержка клиентов или отдельных лиц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Любые действия, создающие угрозу независимости ПО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Рекламные заявления о продуктах компании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Комментарии действиий конкурентов или действий их препаратов (за исключением анализа данных клинических исследований в рамках прямого сравнения)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Распространение научных материалов, связанных с терапией за пределами ПО</a:t>
            </a:r>
          </a:p>
          <a:p>
            <a:pPr marL="450010" indent="-450010" defTabSz="1200024">
              <a:lnSpc>
                <a:spcPct val="150000"/>
              </a:lnSpc>
              <a:buFont typeface="+mj-lt"/>
              <a:buAutoNum type="arabicPeriod"/>
            </a:pPr>
            <a:r>
              <a:rPr lang="ru-RU" sz="1967" dirty="0">
                <a:solidFill>
                  <a:prstClr val="black"/>
                </a:solidFill>
                <a:latin typeface="Verdana"/>
              </a:rPr>
              <a:t>Сбор слухов, присутствие в социальных сетях, мессенджерах пациентских организаций или групп пациентов</a:t>
            </a:r>
            <a:endParaRPr lang="en-US" sz="1967" dirty="0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8916015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ED1F5C6-640B-6EB1-2BA3-E0AE3AEEFA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5629" y="2834285"/>
            <a:ext cx="8646042" cy="1281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reeform 10">
            <a:extLst>
              <a:ext uri="{FF2B5EF4-FFF2-40B4-BE49-F238E27FC236}">
                <a16:creationId xmlns:a16="http://schemas.microsoft.com/office/drawing/2014/main" id="{471ED65F-D83E-CD61-7E52-29DCD45AE767}"/>
              </a:ext>
            </a:extLst>
          </p:cNvPr>
          <p:cNvSpPr>
            <a:spLocks/>
          </p:cNvSpPr>
          <p:nvPr/>
        </p:nvSpPr>
        <p:spPr bwMode="auto">
          <a:xfrm>
            <a:off x="7255628" y="2803694"/>
            <a:ext cx="8229073" cy="1135229"/>
          </a:xfrm>
          <a:custGeom>
            <a:avLst/>
            <a:gdLst>
              <a:gd name="T0" fmla="*/ 0 w 907"/>
              <a:gd name="T1" fmla="*/ 0 h 908"/>
              <a:gd name="T2" fmla="*/ 907 w 907"/>
              <a:gd name="T3" fmla="*/ 0 h 908"/>
              <a:gd name="T4" fmla="*/ 907 w 907"/>
              <a:gd name="T5" fmla="*/ 271 h 908"/>
              <a:gd name="T6" fmla="*/ 896 w 907"/>
              <a:gd name="T7" fmla="*/ 896 h 908"/>
              <a:gd name="T8" fmla="*/ 304 w 907"/>
              <a:gd name="T9" fmla="*/ 907 h 908"/>
              <a:gd name="T10" fmla="*/ 0 w 907"/>
              <a:gd name="T11" fmla="*/ 907 h 908"/>
              <a:gd name="T12" fmla="*/ 0 w 907"/>
              <a:gd name="T13" fmla="*/ 0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7" h="908">
                <a:moveTo>
                  <a:pt x="0" y="0"/>
                </a:moveTo>
                <a:cubicBezTo>
                  <a:pt x="907" y="0"/>
                  <a:pt x="907" y="0"/>
                  <a:pt x="907" y="0"/>
                </a:cubicBezTo>
                <a:cubicBezTo>
                  <a:pt x="907" y="0"/>
                  <a:pt x="907" y="166"/>
                  <a:pt x="907" y="271"/>
                </a:cubicBezTo>
                <a:cubicBezTo>
                  <a:pt x="906" y="515"/>
                  <a:pt x="896" y="896"/>
                  <a:pt x="896" y="896"/>
                </a:cubicBezTo>
                <a:cubicBezTo>
                  <a:pt x="896" y="896"/>
                  <a:pt x="535" y="906"/>
                  <a:pt x="304" y="907"/>
                </a:cubicBezTo>
                <a:cubicBezTo>
                  <a:pt x="185" y="908"/>
                  <a:pt x="0" y="907"/>
                  <a:pt x="0" y="90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7F00991-20E0-2EA7-66E7-2CEA406F09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5629" y="4290710"/>
            <a:ext cx="8646042" cy="1281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10">
            <a:extLst>
              <a:ext uri="{FF2B5EF4-FFF2-40B4-BE49-F238E27FC236}">
                <a16:creationId xmlns:a16="http://schemas.microsoft.com/office/drawing/2014/main" id="{AE074BCE-28B3-B1C2-D2E6-3FE726EA84F4}"/>
              </a:ext>
            </a:extLst>
          </p:cNvPr>
          <p:cNvSpPr>
            <a:spLocks/>
          </p:cNvSpPr>
          <p:nvPr/>
        </p:nvSpPr>
        <p:spPr bwMode="auto">
          <a:xfrm>
            <a:off x="7255628" y="4260121"/>
            <a:ext cx="8229073" cy="1135229"/>
          </a:xfrm>
          <a:custGeom>
            <a:avLst/>
            <a:gdLst>
              <a:gd name="T0" fmla="*/ 0 w 907"/>
              <a:gd name="T1" fmla="*/ 0 h 908"/>
              <a:gd name="T2" fmla="*/ 907 w 907"/>
              <a:gd name="T3" fmla="*/ 0 h 908"/>
              <a:gd name="T4" fmla="*/ 907 w 907"/>
              <a:gd name="T5" fmla="*/ 271 h 908"/>
              <a:gd name="T6" fmla="*/ 896 w 907"/>
              <a:gd name="T7" fmla="*/ 896 h 908"/>
              <a:gd name="T8" fmla="*/ 304 w 907"/>
              <a:gd name="T9" fmla="*/ 907 h 908"/>
              <a:gd name="T10" fmla="*/ 0 w 907"/>
              <a:gd name="T11" fmla="*/ 907 h 908"/>
              <a:gd name="T12" fmla="*/ 0 w 907"/>
              <a:gd name="T13" fmla="*/ 0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7" h="908">
                <a:moveTo>
                  <a:pt x="0" y="0"/>
                </a:moveTo>
                <a:cubicBezTo>
                  <a:pt x="907" y="0"/>
                  <a:pt x="907" y="0"/>
                  <a:pt x="907" y="0"/>
                </a:cubicBezTo>
                <a:cubicBezTo>
                  <a:pt x="907" y="0"/>
                  <a:pt x="907" y="166"/>
                  <a:pt x="907" y="271"/>
                </a:cubicBezTo>
                <a:cubicBezTo>
                  <a:pt x="906" y="515"/>
                  <a:pt x="896" y="896"/>
                  <a:pt x="896" y="896"/>
                </a:cubicBezTo>
                <a:cubicBezTo>
                  <a:pt x="896" y="896"/>
                  <a:pt x="535" y="906"/>
                  <a:pt x="304" y="907"/>
                </a:cubicBezTo>
                <a:cubicBezTo>
                  <a:pt x="185" y="908"/>
                  <a:pt x="0" y="907"/>
                  <a:pt x="0" y="90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4639181-3BAE-8500-C176-5F44184F2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5629" y="5747139"/>
            <a:ext cx="8646042" cy="1281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Freeform 10">
            <a:extLst>
              <a:ext uri="{FF2B5EF4-FFF2-40B4-BE49-F238E27FC236}">
                <a16:creationId xmlns:a16="http://schemas.microsoft.com/office/drawing/2014/main" id="{30A470A7-9B82-B61C-7C51-EF7697FB3C3A}"/>
              </a:ext>
            </a:extLst>
          </p:cNvPr>
          <p:cNvSpPr>
            <a:spLocks/>
          </p:cNvSpPr>
          <p:nvPr/>
        </p:nvSpPr>
        <p:spPr bwMode="auto">
          <a:xfrm>
            <a:off x="7255628" y="5716548"/>
            <a:ext cx="8229073" cy="1135229"/>
          </a:xfrm>
          <a:custGeom>
            <a:avLst/>
            <a:gdLst>
              <a:gd name="T0" fmla="*/ 0 w 907"/>
              <a:gd name="T1" fmla="*/ 0 h 908"/>
              <a:gd name="T2" fmla="*/ 907 w 907"/>
              <a:gd name="T3" fmla="*/ 0 h 908"/>
              <a:gd name="T4" fmla="*/ 907 w 907"/>
              <a:gd name="T5" fmla="*/ 271 h 908"/>
              <a:gd name="T6" fmla="*/ 896 w 907"/>
              <a:gd name="T7" fmla="*/ 896 h 908"/>
              <a:gd name="T8" fmla="*/ 304 w 907"/>
              <a:gd name="T9" fmla="*/ 907 h 908"/>
              <a:gd name="T10" fmla="*/ 0 w 907"/>
              <a:gd name="T11" fmla="*/ 907 h 908"/>
              <a:gd name="T12" fmla="*/ 0 w 907"/>
              <a:gd name="T13" fmla="*/ 0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7" h="908">
                <a:moveTo>
                  <a:pt x="0" y="0"/>
                </a:moveTo>
                <a:cubicBezTo>
                  <a:pt x="907" y="0"/>
                  <a:pt x="907" y="0"/>
                  <a:pt x="907" y="0"/>
                </a:cubicBezTo>
                <a:cubicBezTo>
                  <a:pt x="907" y="0"/>
                  <a:pt x="907" y="166"/>
                  <a:pt x="907" y="271"/>
                </a:cubicBezTo>
                <a:cubicBezTo>
                  <a:pt x="906" y="515"/>
                  <a:pt x="896" y="896"/>
                  <a:pt x="896" y="896"/>
                </a:cubicBezTo>
                <a:cubicBezTo>
                  <a:pt x="896" y="896"/>
                  <a:pt x="535" y="906"/>
                  <a:pt x="304" y="907"/>
                </a:cubicBezTo>
                <a:cubicBezTo>
                  <a:pt x="185" y="908"/>
                  <a:pt x="0" y="907"/>
                  <a:pt x="0" y="90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C42C0D95-11F8-7E4A-D44F-16CB78E3B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5629" y="7234127"/>
            <a:ext cx="8646042" cy="1281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Freeform 10">
            <a:extLst>
              <a:ext uri="{FF2B5EF4-FFF2-40B4-BE49-F238E27FC236}">
                <a16:creationId xmlns:a16="http://schemas.microsoft.com/office/drawing/2014/main" id="{C46729D5-D7A0-C2AE-7C15-E6E73EF8C8B5}"/>
              </a:ext>
            </a:extLst>
          </p:cNvPr>
          <p:cNvSpPr>
            <a:spLocks/>
          </p:cNvSpPr>
          <p:nvPr/>
        </p:nvSpPr>
        <p:spPr bwMode="auto">
          <a:xfrm>
            <a:off x="7255628" y="7203536"/>
            <a:ext cx="8229073" cy="1135229"/>
          </a:xfrm>
          <a:custGeom>
            <a:avLst/>
            <a:gdLst>
              <a:gd name="T0" fmla="*/ 0 w 907"/>
              <a:gd name="T1" fmla="*/ 0 h 908"/>
              <a:gd name="T2" fmla="*/ 907 w 907"/>
              <a:gd name="T3" fmla="*/ 0 h 908"/>
              <a:gd name="T4" fmla="*/ 907 w 907"/>
              <a:gd name="T5" fmla="*/ 271 h 908"/>
              <a:gd name="T6" fmla="*/ 896 w 907"/>
              <a:gd name="T7" fmla="*/ 896 h 908"/>
              <a:gd name="T8" fmla="*/ 304 w 907"/>
              <a:gd name="T9" fmla="*/ 907 h 908"/>
              <a:gd name="T10" fmla="*/ 0 w 907"/>
              <a:gd name="T11" fmla="*/ 907 h 908"/>
              <a:gd name="T12" fmla="*/ 0 w 907"/>
              <a:gd name="T13" fmla="*/ 0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7" h="908">
                <a:moveTo>
                  <a:pt x="0" y="0"/>
                </a:moveTo>
                <a:cubicBezTo>
                  <a:pt x="907" y="0"/>
                  <a:pt x="907" y="0"/>
                  <a:pt x="907" y="0"/>
                </a:cubicBezTo>
                <a:cubicBezTo>
                  <a:pt x="907" y="0"/>
                  <a:pt x="907" y="166"/>
                  <a:pt x="907" y="271"/>
                </a:cubicBezTo>
                <a:cubicBezTo>
                  <a:pt x="906" y="515"/>
                  <a:pt x="896" y="896"/>
                  <a:pt x="896" y="896"/>
                </a:cubicBezTo>
                <a:cubicBezTo>
                  <a:pt x="896" y="896"/>
                  <a:pt x="535" y="906"/>
                  <a:pt x="304" y="907"/>
                </a:cubicBezTo>
                <a:cubicBezTo>
                  <a:pt x="185" y="908"/>
                  <a:pt x="0" y="907"/>
                  <a:pt x="0" y="90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19994" tIns="59997" rIns="119994" bIns="59997" numCol="1" anchor="t" anchorCtr="0" compatLnSpc="1">
            <a:prstTxWarp prst="textNoShape">
              <a:avLst/>
            </a:prstTxWarp>
          </a:bodyPr>
          <a:lstStyle/>
          <a:p>
            <a:pPr defTabSz="600012"/>
            <a:endParaRPr lang="en-US" sz="2362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12A47A-9A78-1353-8DEE-BFF2D5A395BF}"/>
              </a:ext>
            </a:extLst>
          </p:cNvPr>
          <p:cNvSpPr txBox="1"/>
          <p:nvPr/>
        </p:nvSpPr>
        <p:spPr>
          <a:xfrm>
            <a:off x="775898" y="3948966"/>
            <a:ext cx="574285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0012"/>
            <a:r>
              <a:rPr lang="ru-RU" sz="2100" b="1" dirty="0">
                <a:solidFill>
                  <a:prstClr val="black"/>
                </a:solidFill>
                <a:latin typeface="Verdana"/>
              </a:rPr>
              <a:t>Способы обращения для пациентов и пациентских организаций</a:t>
            </a:r>
            <a:endParaRPr lang="en-US" sz="2100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1A3766-AEFC-9A22-B450-25A68F503D4A}"/>
              </a:ext>
            </a:extLst>
          </p:cNvPr>
          <p:cNvSpPr txBox="1"/>
          <p:nvPr/>
        </p:nvSpPr>
        <p:spPr>
          <a:xfrm>
            <a:off x="775897" y="4774039"/>
            <a:ext cx="4879509" cy="726966"/>
          </a:xfrm>
          <a:prstGeom prst="rect">
            <a:avLst/>
          </a:prstGeom>
          <a:noFill/>
        </p:spPr>
        <p:txBody>
          <a:bodyPr wrap="square" lIns="159993" tIns="79996" rIns="159993" bIns="79996" rtlCol="0" anchor="t">
            <a:spAutoFit/>
          </a:bodyPr>
          <a:lstStyle/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Контактные номера телефонов, указанные на сайте</a:t>
            </a:r>
            <a:endParaRPr lang="en-US" sz="1837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0" name="Title 648">
            <a:extLst>
              <a:ext uri="{FF2B5EF4-FFF2-40B4-BE49-F238E27FC236}">
                <a16:creationId xmlns:a16="http://schemas.microsoft.com/office/drawing/2014/main" id="{B3CE21AD-C2C3-B668-A193-5C68C4291794}"/>
              </a:ext>
            </a:extLst>
          </p:cNvPr>
          <p:cNvSpPr txBox="1">
            <a:spLocks/>
          </p:cNvSpPr>
          <p:nvPr/>
        </p:nvSpPr>
        <p:spPr>
          <a:xfrm>
            <a:off x="839298" y="555290"/>
            <a:ext cx="14616913" cy="64918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6000" b="0" i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 defTabSz="1199993"/>
            <a:r>
              <a:rPr lang="ru-RU" sz="3200" b="1" kern="100" dirty="0">
                <a:latin typeface="+mn-lt"/>
                <a:cs typeface="Times New Roman" panose="02020603050405020304" pitchFamily="18" charset="0"/>
              </a:rPr>
              <a:t>Какую информацию можно запросить у компании и как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D63A62-5B74-1623-1646-9D50014663D9}"/>
              </a:ext>
            </a:extLst>
          </p:cNvPr>
          <p:cNvSpPr txBox="1"/>
          <p:nvPr/>
        </p:nvSpPr>
        <p:spPr>
          <a:xfrm>
            <a:off x="775896" y="6243665"/>
            <a:ext cx="5591938" cy="726966"/>
          </a:xfrm>
          <a:prstGeom prst="rect">
            <a:avLst/>
          </a:prstGeom>
          <a:noFill/>
        </p:spPr>
        <p:txBody>
          <a:bodyPr wrap="square" lIns="159993" tIns="79996" rIns="159993" bIns="79996" rtlCol="0" anchor="t">
            <a:spAutoFit/>
          </a:bodyPr>
          <a:lstStyle/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Форма обратной связи на сайте и ряде партнерских платформ</a:t>
            </a:r>
            <a:endParaRPr lang="en-US" sz="1837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56C9D92-2982-10D4-CC75-2BC3609F4581}"/>
              </a:ext>
            </a:extLst>
          </p:cNvPr>
          <p:cNvSpPr txBox="1"/>
          <p:nvPr/>
        </p:nvSpPr>
        <p:spPr>
          <a:xfrm>
            <a:off x="775897" y="6997040"/>
            <a:ext cx="5562610" cy="726966"/>
          </a:xfrm>
          <a:prstGeom prst="rect">
            <a:avLst/>
          </a:prstGeom>
          <a:noFill/>
        </p:spPr>
        <p:txBody>
          <a:bodyPr wrap="square" lIns="159993" tIns="79996" rIns="159993" bIns="79996" rtlCol="0" anchor="t">
            <a:spAutoFit/>
          </a:bodyPr>
          <a:lstStyle/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Обращение официальным письмом или через </a:t>
            </a:r>
            <a:r>
              <a:rPr lang="en-US" sz="1837" dirty="0">
                <a:solidFill>
                  <a:prstClr val="black"/>
                </a:solidFill>
                <a:latin typeface="Verdana"/>
              </a:rPr>
              <a:t>email</a:t>
            </a:r>
            <a:endParaRPr lang="en-US" sz="28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C97161-AF39-C111-3120-FC7B7FF47444}"/>
              </a:ext>
            </a:extLst>
          </p:cNvPr>
          <p:cNvSpPr txBox="1"/>
          <p:nvPr/>
        </p:nvSpPr>
        <p:spPr>
          <a:xfrm>
            <a:off x="775897" y="5510258"/>
            <a:ext cx="5591936" cy="726966"/>
          </a:xfrm>
          <a:prstGeom prst="rect">
            <a:avLst/>
          </a:prstGeom>
          <a:noFill/>
        </p:spPr>
        <p:txBody>
          <a:bodyPr wrap="square" lIns="159993" tIns="79996" rIns="159993" bIns="79996" rtlCol="0" anchor="t">
            <a:spAutoFit/>
          </a:bodyPr>
          <a:lstStyle/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Горячая линия для медицинских запросов и сообщений</a:t>
            </a:r>
            <a:endParaRPr lang="en-US" sz="28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631639F-FAEC-A7FA-B387-BB7660C778D9}"/>
              </a:ext>
            </a:extLst>
          </p:cNvPr>
          <p:cNvSpPr txBox="1"/>
          <p:nvPr/>
        </p:nvSpPr>
        <p:spPr>
          <a:xfrm>
            <a:off x="775896" y="1844641"/>
            <a:ext cx="5781316" cy="1788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Пациенты и их организации могут обращаться с запросами в компании-производители</a:t>
            </a:r>
          </a:p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Если запрос медицинский, то приоритетная форма запроса по телефону или через горячую линию </a:t>
            </a:r>
            <a:endParaRPr lang="en-US" sz="1837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3DE80E3-2C57-1A56-43CB-3214B3D7FCE6}"/>
              </a:ext>
            </a:extLst>
          </p:cNvPr>
          <p:cNvSpPr txBox="1"/>
          <p:nvPr/>
        </p:nvSpPr>
        <p:spPr>
          <a:xfrm>
            <a:off x="7791229" y="2941650"/>
            <a:ext cx="7373840" cy="657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Компании предоставляют информацию исключительно, </a:t>
            </a:r>
            <a:r>
              <a:rPr lang="ru-RU" sz="1837" b="1" dirty="0">
                <a:solidFill>
                  <a:srgbClr val="002060"/>
                </a:solidFill>
                <a:latin typeface="Verdana"/>
              </a:rPr>
              <a:t>как производитель</a:t>
            </a:r>
            <a:r>
              <a:rPr lang="ru-RU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, делая акцент на научных данных</a:t>
            </a:r>
            <a:endParaRPr lang="en-US" sz="1837" dirty="0">
              <a:solidFill>
                <a:srgbClr val="F5F5F5">
                  <a:lumMod val="10000"/>
                </a:srgbClr>
              </a:solidFill>
              <a:latin typeface="Verdana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EE2101C-2A81-8919-1EEE-A0787BC2010A}"/>
              </a:ext>
            </a:extLst>
          </p:cNvPr>
          <p:cNvSpPr txBox="1"/>
          <p:nvPr/>
        </p:nvSpPr>
        <p:spPr>
          <a:xfrm>
            <a:off x="7728989" y="4340431"/>
            <a:ext cx="7436079" cy="9404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Если запрос касается применения терапии, Компания может ответить </a:t>
            </a:r>
            <a:r>
              <a:rPr lang="ru-RU" sz="1837" b="1" dirty="0">
                <a:solidFill>
                  <a:srgbClr val="002060"/>
                </a:solidFill>
                <a:latin typeface="Verdana"/>
              </a:rPr>
              <a:t>только в рамках инструкции </a:t>
            </a:r>
            <a:r>
              <a:rPr lang="ru-RU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к препарату</a:t>
            </a:r>
            <a:endParaRPr lang="en-US" sz="1837" dirty="0">
              <a:solidFill>
                <a:srgbClr val="F5F5F5">
                  <a:lumMod val="10000"/>
                </a:srgbClr>
              </a:solidFill>
              <a:latin typeface="Verdan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0AA50EB-2ADB-6C57-5E1E-22CF9DEDEDE8}"/>
              </a:ext>
            </a:extLst>
          </p:cNvPr>
          <p:cNvSpPr txBox="1"/>
          <p:nvPr/>
        </p:nvSpPr>
        <p:spPr>
          <a:xfrm>
            <a:off x="7760111" y="5761989"/>
            <a:ext cx="7373840" cy="9404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Компания не комментирует индивидуализированные запросы о терапии, такие комментарии или назначения может делать </a:t>
            </a:r>
            <a:r>
              <a:rPr lang="ru-RU" sz="1837" b="1" dirty="0">
                <a:solidFill>
                  <a:srgbClr val="002060"/>
                </a:solidFill>
                <a:latin typeface="Verdana"/>
              </a:rPr>
              <a:t>только лечащий врач</a:t>
            </a:r>
            <a:endParaRPr lang="en-US" sz="1837" b="1" dirty="0">
              <a:solidFill>
                <a:srgbClr val="002060"/>
              </a:solidFill>
              <a:latin typeface="Verdan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EBECB11-CFB7-CC2D-6FB1-2B213B7FACA6}"/>
              </a:ext>
            </a:extLst>
          </p:cNvPr>
          <p:cNvSpPr txBox="1"/>
          <p:nvPr/>
        </p:nvSpPr>
        <p:spPr>
          <a:xfrm>
            <a:off x="7770263" y="7297006"/>
            <a:ext cx="7373840" cy="9404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Ответ на запрос предоставляется </a:t>
            </a:r>
            <a:r>
              <a:rPr lang="ru-RU" sz="1837" b="1" dirty="0">
                <a:solidFill>
                  <a:srgbClr val="002060"/>
                </a:solidFill>
                <a:latin typeface="Verdana"/>
              </a:rPr>
              <a:t>в форме аналогичной запросу</a:t>
            </a:r>
            <a:r>
              <a:rPr lang="ru-RU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. Например, если обращение подано через </a:t>
            </a:r>
            <a:r>
              <a:rPr lang="en-US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email, </a:t>
            </a:r>
            <a:r>
              <a:rPr lang="ru-RU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ответ будет в таком же формате</a:t>
            </a:r>
            <a:endParaRPr lang="en-US" sz="1837" b="1" dirty="0">
              <a:solidFill>
                <a:srgbClr val="F5F5F5">
                  <a:lumMod val="10000"/>
                </a:srgbClr>
              </a:solidFill>
              <a:latin typeface="Verdan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809B20-B1F5-AA8A-FC0D-BFBEA0762897}"/>
              </a:ext>
            </a:extLst>
          </p:cNvPr>
          <p:cNvSpPr txBox="1"/>
          <p:nvPr/>
        </p:nvSpPr>
        <p:spPr>
          <a:xfrm>
            <a:off x="775896" y="7749410"/>
            <a:ext cx="4559764" cy="444261"/>
          </a:xfrm>
          <a:prstGeom prst="rect">
            <a:avLst/>
          </a:prstGeom>
          <a:noFill/>
        </p:spPr>
        <p:txBody>
          <a:bodyPr wrap="square" lIns="159993" tIns="79996" rIns="159993" bIns="79996" rtlCol="0" anchor="t">
            <a:spAutoFit/>
          </a:bodyPr>
          <a:lstStyle/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Горячая линия</a:t>
            </a:r>
            <a:endParaRPr lang="en-US" sz="1837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4" name="Полилиния: фигура 14">
            <a:extLst>
              <a:ext uri="{FF2B5EF4-FFF2-40B4-BE49-F238E27FC236}">
                <a16:creationId xmlns:a16="http://schemas.microsoft.com/office/drawing/2014/main" id="{5BC13430-8567-228B-5DFF-D00BC0D333BA}"/>
              </a:ext>
            </a:extLst>
          </p:cNvPr>
          <p:cNvSpPr/>
          <p:nvPr/>
        </p:nvSpPr>
        <p:spPr>
          <a:xfrm flipV="1">
            <a:off x="965275" y="1886893"/>
            <a:ext cx="5591938" cy="1712497"/>
          </a:xfrm>
          <a:custGeom>
            <a:avLst/>
            <a:gdLst>
              <a:gd name="connsiteX0" fmla="*/ 0 w 1508502"/>
              <a:gd name="connsiteY0" fmla="*/ 0 h 1901125"/>
              <a:gd name="connsiteX1" fmla="*/ 1508502 w 1508502"/>
              <a:gd name="connsiteY1" fmla="*/ 0 h 1901125"/>
              <a:gd name="connsiteX2" fmla="*/ 1508502 w 1508502"/>
              <a:gd name="connsiteY2" fmla="*/ 1901125 h 190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08502" h="1901125">
                <a:moveTo>
                  <a:pt x="0" y="0"/>
                </a:moveTo>
                <a:lnTo>
                  <a:pt x="1508502" y="0"/>
                </a:lnTo>
                <a:lnTo>
                  <a:pt x="1508502" y="1901125"/>
                </a:lnTo>
              </a:path>
            </a:pathLst>
          </a:custGeom>
          <a:noFill/>
          <a:ln w="9525" cap="rnd">
            <a:solidFill>
              <a:srgbClr val="6D6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99977">
              <a:defRPr/>
            </a:pPr>
            <a:endParaRPr lang="ru-RU" sz="3150">
              <a:solidFill>
                <a:prstClr val="white"/>
              </a:solidFill>
              <a:latin typeface="Sanofi Sans"/>
            </a:endParaRPr>
          </a:p>
        </p:txBody>
      </p:sp>
      <p:sp>
        <p:nvSpPr>
          <p:cNvPr id="5" name="Овал 15">
            <a:extLst>
              <a:ext uri="{FF2B5EF4-FFF2-40B4-BE49-F238E27FC236}">
                <a16:creationId xmlns:a16="http://schemas.microsoft.com/office/drawing/2014/main" id="{19ACFD03-B320-11AA-3E68-47819E57F52A}"/>
              </a:ext>
            </a:extLst>
          </p:cNvPr>
          <p:cNvSpPr/>
          <p:nvPr/>
        </p:nvSpPr>
        <p:spPr>
          <a:xfrm flipV="1">
            <a:off x="6505909" y="2949146"/>
            <a:ext cx="125978" cy="12597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99977">
              <a:defRPr/>
            </a:pPr>
            <a:endParaRPr lang="ru-RU" sz="3150">
              <a:solidFill>
                <a:prstClr val="white"/>
              </a:solidFill>
              <a:latin typeface="Sanofi Sans"/>
            </a:endParaRPr>
          </a:p>
        </p:txBody>
      </p:sp>
      <p:sp>
        <p:nvSpPr>
          <p:cNvPr id="6" name="Полилиния: фигура 14">
            <a:extLst>
              <a:ext uri="{FF2B5EF4-FFF2-40B4-BE49-F238E27FC236}">
                <a16:creationId xmlns:a16="http://schemas.microsoft.com/office/drawing/2014/main" id="{D25B6BBE-F935-EC5C-2012-7F490DB0AF9B}"/>
              </a:ext>
            </a:extLst>
          </p:cNvPr>
          <p:cNvSpPr/>
          <p:nvPr/>
        </p:nvSpPr>
        <p:spPr>
          <a:xfrm flipV="1">
            <a:off x="965275" y="4340431"/>
            <a:ext cx="5591938" cy="4012101"/>
          </a:xfrm>
          <a:custGeom>
            <a:avLst/>
            <a:gdLst>
              <a:gd name="connsiteX0" fmla="*/ 0 w 1508502"/>
              <a:gd name="connsiteY0" fmla="*/ 0 h 1901125"/>
              <a:gd name="connsiteX1" fmla="*/ 1508502 w 1508502"/>
              <a:gd name="connsiteY1" fmla="*/ 0 h 1901125"/>
              <a:gd name="connsiteX2" fmla="*/ 1508502 w 1508502"/>
              <a:gd name="connsiteY2" fmla="*/ 1901125 h 190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08502" h="1901125">
                <a:moveTo>
                  <a:pt x="0" y="0"/>
                </a:moveTo>
                <a:lnTo>
                  <a:pt x="1508502" y="0"/>
                </a:lnTo>
                <a:lnTo>
                  <a:pt x="1508502" y="1901125"/>
                </a:lnTo>
              </a:path>
            </a:pathLst>
          </a:custGeom>
          <a:noFill/>
          <a:ln w="9525" cap="rnd">
            <a:solidFill>
              <a:srgbClr val="6D6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99977">
              <a:defRPr/>
            </a:pPr>
            <a:endParaRPr lang="ru-RU" sz="3150">
              <a:solidFill>
                <a:prstClr val="white"/>
              </a:solidFill>
              <a:latin typeface="Sanofi Sans"/>
            </a:endParaRPr>
          </a:p>
        </p:txBody>
      </p:sp>
      <p:sp>
        <p:nvSpPr>
          <p:cNvPr id="7" name="Овал 15">
            <a:extLst>
              <a:ext uri="{FF2B5EF4-FFF2-40B4-BE49-F238E27FC236}">
                <a16:creationId xmlns:a16="http://schemas.microsoft.com/office/drawing/2014/main" id="{0E6578AA-897F-F949-A3AD-9CD150392CCC}"/>
              </a:ext>
            </a:extLst>
          </p:cNvPr>
          <p:cNvSpPr/>
          <p:nvPr/>
        </p:nvSpPr>
        <p:spPr>
          <a:xfrm flipV="1">
            <a:off x="6501059" y="7578592"/>
            <a:ext cx="125978" cy="12597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99977">
              <a:defRPr/>
            </a:pPr>
            <a:endParaRPr lang="ru-RU" sz="3150">
              <a:solidFill>
                <a:prstClr val="white"/>
              </a:solidFill>
              <a:latin typeface="Sanofi San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88C264-B66E-BEF4-07BE-C32119DBEB3C}"/>
              </a:ext>
            </a:extLst>
          </p:cNvPr>
          <p:cNvSpPr txBox="1"/>
          <p:nvPr/>
        </p:nvSpPr>
        <p:spPr>
          <a:xfrm>
            <a:off x="7012696" y="1786613"/>
            <a:ext cx="888897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2100" b="1" dirty="0">
                <a:solidFill>
                  <a:srgbClr val="002060"/>
                </a:solidFill>
                <a:latin typeface="Verdana"/>
              </a:rPr>
              <a:t>Ключевые правила Компании при ответе на запросы пациентских организаций</a:t>
            </a:r>
          </a:p>
        </p:txBody>
      </p:sp>
    </p:spTree>
    <p:extLst>
      <p:ext uri="{BB962C8B-B14F-4D97-AF65-F5344CB8AC3E}">
        <p14:creationId xmlns:p14="http://schemas.microsoft.com/office/powerpoint/2010/main" val="100847519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30" grpId="0" animBg="1"/>
      <p:bldP spid="32" grpId="0" animBg="1"/>
      <p:bldP spid="40" grpId="0"/>
      <p:bldP spid="53" grpId="0"/>
      <p:bldP spid="56" grpId="0"/>
      <p:bldP spid="5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1512A47A-9A78-1353-8DEE-BFF2D5A395BF}"/>
              </a:ext>
            </a:extLst>
          </p:cNvPr>
          <p:cNvSpPr txBox="1"/>
          <p:nvPr/>
        </p:nvSpPr>
        <p:spPr>
          <a:xfrm>
            <a:off x="1058014" y="3554495"/>
            <a:ext cx="500103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0012"/>
            <a:r>
              <a:rPr lang="ru-RU" sz="2100" b="1" dirty="0">
                <a:solidFill>
                  <a:prstClr val="black"/>
                </a:solidFill>
                <a:latin typeface="Verdana"/>
              </a:rPr>
              <a:t>Нежелательная реакция</a:t>
            </a:r>
            <a:endParaRPr lang="en-US" sz="2100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0" name="Title 648">
            <a:extLst>
              <a:ext uri="{FF2B5EF4-FFF2-40B4-BE49-F238E27FC236}">
                <a16:creationId xmlns:a16="http://schemas.microsoft.com/office/drawing/2014/main" id="{B3CE21AD-C2C3-B668-A193-5C68C4291794}"/>
              </a:ext>
            </a:extLst>
          </p:cNvPr>
          <p:cNvSpPr txBox="1">
            <a:spLocks/>
          </p:cNvSpPr>
          <p:nvPr/>
        </p:nvSpPr>
        <p:spPr>
          <a:xfrm>
            <a:off x="1075627" y="355904"/>
            <a:ext cx="14652225" cy="77524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6000" b="0" i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 defTabSz="1199993"/>
            <a:r>
              <a:rPr lang="ru-RU" sz="4069" b="1" dirty="0">
                <a:solidFill>
                  <a:srgbClr val="23004C"/>
                </a:solidFill>
                <a:cs typeface="+mn-cs"/>
              </a:rPr>
              <a:t>Как сообщить о нежелательных реакциях?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631639F-FAEC-A7FA-B387-BB7660C778D9}"/>
              </a:ext>
            </a:extLst>
          </p:cNvPr>
          <p:cNvSpPr txBox="1"/>
          <p:nvPr/>
        </p:nvSpPr>
        <p:spPr>
          <a:xfrm>
            <a:off x="995352" y="1899755"/>
            <a:ext cx="5646212" cy="1223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Жизнь и здоровье пациентов – главный приоритет для индустрии, поэтому нам важно знать о случаях наступления нежелательных реакций от терапии</a:t>
            </a:r>
            <a:endParaRPr lang="en-US" sz="1837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7F07F2-5B67-A347-BC60-252520176175}"/>
              </a:ext>
            </a:extLst>
          </p:cNvPr>
          <p:cNvSpPr txBox="1"/>
          <p:nvPr/>
        </p:nvSpPr>
        <p:spPr>
          <a:xfrm>
            <a:off x="1058015" y="4065288"/>
            <a:ext cx="5379121" cy="1788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непреднамеренная неблагоприятная реакция организма, связанная с применением лекарственного препарата и предполагающая наличие взаимосвязи с применением подозреваемого лекарственного препарата</a:t>
            </a:r>
            <a:endParaRPr lang="en-US" sz="1837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B6D842-8116-CEDD-7E66-A40DE943029C}"/>
              </a:ext>
            </a:extLst>
          </p:cNvPr>
          <p:cNvSpPr txBox="1"/>
          <p:nvPr/>
        </p:nvSpPr>
        <p:spPr>
          <a:xfrm>
            <a:off x="6780809" y="4959575"/>
            <a:ext cx="4008740" cy="1788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1837" b="1" dirty="0">
                <a:solidFill>
                  <a:prstClr val="black"/>
                </a:solidFill>
                <a:latin typeface="Verdana"/>
              </a:rPr>
              <a:t>Адрес</a:t>
            </a:r>
          </a:p>
          <a:p>
            <a:pPr algn="ctr"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В Российской Федерации</a:t>
            </a:r>
          </a:p>
          <a:p>
            <a:pPr algn="ctr" defTabSz="600012"/>
            <a:endParaRPr lang="ru-RU" sz="1837" dirty="0">
              <a:solidFill>
                <a:prstClr val="black"/>
              </a:solidFill>
              <a:latin typeface="Verdana"/>
            </a:endParaRPr>
          </a:p>
          <a:p>
            <a:pPr algn="ctr"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Контакты: телефон и сайт юридического лица</a:t>
            </a:r>
            <a:br>
              <a:rPr lang="ru-RU" sz="1837" dirty="0">
                <a:solidFill>
                  <a:prstClr val="black"/>
                </a:solidFill>
                <a:latin typeface="Verdana"/>
              </a:rPr>
            </a:br>
            <a:endParaRPr lang="en-US" sz="1837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B4E203-1EDF-6AC9-7369-618F6B401E4F}"/>
              </a:ext>
            </a:extLst>
          </p:cNvPr>
          <p:cNvSpPr txBox="1"/>
          <p:nvPr/>
        </p:nvSpPr>
        <p:spPr>
          <a:xfrm>
            <a:off x="7218382" y="2008796"/>
            <a:ext cx="849842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2100" b="1" dirty="0">
                <a:solidFill>
                  <a:srgbClr val="002060"/>
                </a:solidFill>
                <a:latin typeface="Verdana"/>
              </a:rPr>
              <a:t>Куда обращаться в случае наступления нежелательных реакций организма на терапию?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43D3966-7B3F-61F1-36BA-4F6BC9FE34F2}"/>
              </a:ext>
            </a:extLst>
          </p:cNvPr>
          <p:cNvCxnSpPr>
            <a:cxnSpLocks/>
          </p:cNvCxnSpPr>
          <p:nvPr/>
        </p:nvCxnSpPr>
        <p:spPr>
          <a:xfrm>
            <a:off x="11261389" y="4959574"/>
            <a:ext cx="0" cy="1582921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F0DD74D-23D7-B623-080E-C2530790B6BA}"/>
              </a:ext>
            </a:extLst>
          </p:cNvPr>
          <p:cNvSpPr/>
          <p:nvPr/>
        </p:nvSpPr>
        <p:spPr>
          <a:xfrm>
            <a:off x="6983779" y="3769487"/>
            <a:ext cx="3551719" cy="930564"/>
          </a:xfrm>
          <a:custGeom>
            <a:avLst/>
            <a:gdLst>
              <a:gd name="csX0" fmla="*/ 0 w 3551720"/>
              <a:gd name="csY0" fmla="*/ 0 h 930564"/>
              <a:gd name="csX1" fmla="*/ 556436 w 3551720"/>
              <a:gd name="csY1" fmla="*/ 0 h 930564"/>
              <a:gd name="csX2" fmla="*/ 1219424 w 3551720"/>
              <a:gd name="csY2" fmla="*/ 0 h 930564"/>
              <a:gd name="csX3" fmla="*/ 1882412 w 3551720"/>
              <a:gd name="csY3" fmla="*/ 0 h 930564"/>
              <a:gd name="csX4" fmla="*/ 2403331 w 3551720"/>
              <a:gd name="csY4" fmla="*/ 0 h 930564"/>
              <a:gd name="csX5" fmla="*/ 2924249 w 3551720"/>
              <a:gd name="csY5" fmla="*/ 0 h 930564"/>
              <a:gd name="csX6" fmla="*/ 3551720 w 3551720"/>
              <a:gd name="csY6" fmla="*/ 0 h 930564"/>
              <a:gd name="csX7" fmla="*/ 3551720 w 3551720"/>
              <a:gd name="csY7" fmla="*/ 437365 h 930564"/>
              <a:gd name="csX8" fmla="*/ 3551720 w 3551720"/>
              <a:gd name="csY8" fmla="*/ 930564 h 930564"/>
              <a:gd name="csX9" fmla="*/ 2959767 w 3551720"/>
              <a:gd name="csY9" fmla="*/ 930564 h 930564"/>
              <a:gd name="csX10" fmla="*/ 2296779 w 3551720"/>
              <a:gd name="csY10" fmla="*/ 930564 h 930564"/>
              <a:gd name="csX11" fmla="*/ 1775860 w 3551720"/>
              <a:gd name="csY11" fmla="*/ 930564 h 930564"/>
              <a:gd name="csX12" fmla="*/ 1112872 w 3551720"/>
              <a:gd name="csY12" fmla="*/ 930564 h 930564"/>
              <a:gd name="csX13" fmla="*/ 0 w 3551720"/>
              <a:gd name="csY13" fmla="*/ 930564 h 930564"/>
              <a:gd name="csX14" fmla="*/ 0 w 3551720"/>
              <a:gd name="csY14" fmla="*/ 446671 h 930564"/>
              <a:gd name="csX15" fmla="*/ 0 w 3551720"/>
              <a:gd name="csY15" fmla="*/ 0 h 9305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551720" h="930564" extrusionOk="0">
                <a:moveTo>
                  <a:pt x="0" y="0"/>
                </a:moveTo>
                <a:cubicBezTo>
                  <a:pt x="119849" y="-3714"/>
                  <a:pt x="278775" y="-12671"/>
                  <a:pt x="556436" y="0"/>
                </a:cubicBezTo>
                <a:cubicBezTo>
                  <a:pt x="834097" y="12671"/>
                  <a:pt x="1053226" y="-32995"/>
                  <a:pt x="1219424" y="0"/>
                </a:cubicBezTo>
                <a:cubicBezTo>
                  <a:pt x="1385622" y="32995"/>
                  <a:pt x="1677100" y="28292"/>
                  <a:pt x="1882412" y="0"/>
                </a:cubicBezTo>
                <a:cubicBezTo>
                  <a:pt x="2087724" y="-28292"/>
                  <a:pt x="2239798" y="-13369"/>
                  <a:pt x="2403331" y="0"/>
                </a:cubicBezTo>
                <a:cubicBezTo>
                  <a:pt x="2566864" y="13369"/>
                  <a:pt x="2750340" y="-5033"/>
                  <a:pt x="2924249" y="0"/>
                </a:cubicBezTo>
                <a:cubicBezTo>
                  <a:pt x="3098158" y="5033"/>
                  <a:pt x="3257949" y="-21442"/>
                  <a:pt x="3551720" y="0"/>
                </a:cubicBezTo>
                <a:cubicBezTo>
                  <a:pt x="3563537" y="171301"/>
                  <a:pt x="3551473" y="282395"/>
                  <a:pt x="3551720" y="437365"/>
                </a:cubicBezTo>
                <a:cubicBezTo>
                  <a:pt x="3551967" y="592335"/>
                  <a:pt x="3555011" y="706814"/>
                  <a:pt x="3551720" y="930564"/>
                </a:cubicBezTo>
                <a:cubicBezTo>
                  <a:pt x="3382215" y="951387"/>
                  <a:pt x="3112202" y="901002"/>
                  <a:pt x="2959767" y="930564"/>
                </a:cubicBezTo>
                <a:cubicBezTo>
                  <a:pt x="2807332" y="960126"/>
                  <a:pt x="2535970" y="901542"/>
                  <a:pt x="2296779" y="930564"/>
                </a:cubicBezTo>
                <a:cubicBezTo>
                  <a:pt x="2057588" y="959586"/>
                  <a:pt x="1926288" y="931439"/>
                  <a:pt x="1775860" y="930564"/>
                </a:cubicBezTo>
                <a:cubicBezTo>
                  <a:pt x="1625432" y="929689"/>
                  <a:pt x="1389874" y="923286"/>
                  <a:pt x="1112872" y="930564"/>
                </a:cubicBezTo>
                <a:cubicBezTo>
                  <a:pt x="835870" y="937842"/>
                  <a:pt x="238890" y="927822"/>
                  <a:pt x="0" y="930564"/>
                </a:cubicBezTo>
                <a:cubicBezTo>
                  <a:pt x="15072" y="793069"/>
                  <a:pt x="3541" y="661091"/>
                  <a:pt x="0" y="446671"/>
                </a:cubicBezTo>
                <a:cubicBezTo>
                  <a:pt x="-3541" y="232251"/>
                  <a:pt x="-21153" y="125290"/>
                  <a:pt x="0" y="0"/>
                </a:cubicBezTo>
                <a:close/>
              </a:path>
            </a:pathLst>
          </a:custGeom>
          <a:noFill/>
          <a:ln w="19050">
            <a:solidFill>
              <a:srgbClr val="002060"/>
            </a:solidFill>
            <a:extLst>
              <a:ext uri="{C807C97D-BFC1-408E-A445-0C87EB9F89A2}">
                <ask:lineSketchStyleProps xmlns:ask="http://schemas.microsoft.com/office/drawing/2018/sketchyshapes" xmlns="" sd="1218447764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0012"/>
            <a:endParaRPr lang="ru-RU" sz="2362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C1E5CC-692D-6DD8-993B-C41B1275D6B4}"/>
              </a:ext>
            </a:extLst>
          </p:cNvPr>
          <p:cNvSpPr txBox="1"/>
          <p:nvPr/>
        </p:nvSpPr>
        <p:spPr>
          <a:xfrm>
            <a:off x="6982971" y="3779951"/>
            <a:ext cx="3551719" cy="9404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1837" dirty="0">
                <a:solidFill>
                  <a:srgbClr val="F5F5F5">
                    <a:lumMod val="10000"/>
                  </a:srgbClr>
                </a:solidFill>
                <a:latin typeface="Verdana"/>
              </a:rPr>
              <a:t>Производитель лекарственных препаратов и вакцин</a:t>
            </a:r>
            <a:endParaRPr lang="en-US" sz="1837" dirty="0">
              <a:solidFill>
                <a:srgbClr val="F5F5F5">
                  <a:lumMod val="10000"/>
                </a:srgbClr>
              </a:solidFill>
              <a:latin typeface="Verdana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981944A-625F-F0CD-BD23-91F4A02F1303}"/>
              </a:ext>
            </a:extLst>
          </p:cNvPr>
          <p:cNvSpPr/>
          <p:nvPr/>
        </p:nvSpPr>
        <p:spPr>
          <a:xfrm>
            <a:off x="11969221" y="3769487"/>
            <a:ext cx="3551719" cy="930564"/>
          </a:xfrm>
          <a:custGeom>
            <a:avLst/>
            <a:gdLst>
              <a:gd name="csX0" fmla="*/ 0 w 3551720"/>
              <a:gd name="csY0" fmla="*/ 0 h 930564"/>
              <a:gd name="csX1" fmla="*/ 556436 w 3551720"/>
              <a:gd name="csY1" fmla="*/ 0 h 930564"/>
              <a:gd name="csX2" fmla="*/ 1219424 w 3551720"/>
              <a:gd name="csY2" fmla="*/ 0 h 930564"/>
              <a:gd name="csX3" fmla="*/ 1882412 w 3551720"/>
              <a:gd name="csY3" fmla="*/ 0 h 930564"/>
              <a:gd name="csX4" fmla="*/ 2403331 w 3551720"/>
              <a:gd name="csY4" fmla="*/ 0 h 930564"/>
              <a:gd name="csX5" fmla="*/ 2924249 w 3551720"/>
              <a:gd name="csY5" fmla="*/ 0 h 930564"/>
              <a:gd name="csX6" fmla="*/ 3551720 w 3551720"/>
              <a:gd name="csY6" fmla="*/ 0 h 930564"/>
              <a:gd name="csX7" fmla="*/ 3551720 w 3551720"/>
              <a:gd name="csY7" fmla="*/ 437365 h 930564"/>
              <a:gd name="csX8" fmla="*/ 3551720 w 3551720"/>
              <a:gd name="csY8" fmla="*/ 930564 h 930564"/>
              <a:gd name="csX9" fmla="*/ 2959767 w 3551720"/>
              <a:gd name="csY9" fmla="*/ 930564 h 930564"/>
              <a:gd name="csX10" fmla="*/ 2296779 w 3551720"/>
              <a:gd name="csY10" fmla="*/ 930564 h 930564"/>
              <a:gd name="csX11" fmla="*/ 1775860 w 3551720"/>
              <a:gd name="csY11" fmla="*/ 930564 h 930564"/>
              <a:gd name="csX12" fmla="*/ 1112872 w 3551720"/>
              <a:gd name="csY12" fmla="*/ 930564 h 930564"/>
              <a:gd name="csX13" fmla="*/ 0 w 3551720"/>
              <a:gd name="csY13" fmla="*/ 930564 h 930564"/>
              <a:gd name="csX14" fmla="*/ 0 w 3551720"/>
              <a:gd name="csY14" fmla="*/ 446671 h 930564"/>
              <a:gd name="csX15" fmla="*/ 0 w 3551720"/>
              <a:gd name="csY15" fmla="*/ 0 h 9305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551720" h="930564" extrusionOk="0">
                <a:moveTo>
                  <a:pt x="0" y="0"/>
                </a:moveTo>
                <a:cubicBezTo>
                  <a:pt x="119849" y="-3714"/>
                  <a:pt x="278775" y="-12671"/>
                  <a:pt x="556436" y="0"/>
                </a:cubicBezTo>
                <a:cubicBezTo>
                  <a:pt x="834097" y="12671"/>
                  <a:pt x="1053226" y="-32995"/>
                  <a:pt x="1219424" y="0"/>
                </a:cubicBezTo>
                <a:cubicBezTo>
                  <a:pt x="1385622" y="32995"/>
                  <a:pt x="1677100" y="28292"/>
                  <a:pt x="1882412" y="0"/>
                </a:cubicBezTo>
                <a:cubicBezTo>
                  <a:pt x="2087724" y="-28292"/>
                  <a:pt x="2239798" y="-13369"/>
                  <a:pt x="2403331" y="0"/>
                </a:cubicBezTo>
                <a:cubicBezTo>
                  <a:pt x="2566864" y="13369"/>
                  <a:pt x="2750340" y="-5033"/>
                  <a:pt x="2924249" y="0"/>
                </a:cubicBezTo>
                <a:cubicBezTo>
                  <a:pt x="3098158" y="5033"/>
                  <a:pt x="3257949" y="-21442"/>
                  <a:pt x="3551720" y="0"/>
                </a:cubicBezTo>
                <a:cubicBezTo>
                  <a:pt x="3563537" y="171301"/>
                  <a:pt x="3551473" y="282395"/>
                  <a:pt x="3551720" y="437365"/>
                </a:cubicBezTo>
                <a:cubicBezTo>
                  <a:pt x="3551967" y="592335"/>
                  <a:pt x="3555011" y="706814"/>
                  <a:pt x="3551720" y="930564"/>
                </a:cubicBezTo>
                <a:cubicBezTo>
                  <a:pt x="3382215" y="951387"/>
                  <a:pt x="3112202" y="901002"/>
                  <a:pt x="2959767" y="930564"/>
                </a:cubicBezTo>
                <a:cubicBezTo>
                  <a:pt x="2807332" y="960126"/>
                  <a:pt x="2535970" y="901542"/>
                  <a:pt x="2296779" y="930564"/>
                </a:cubicBezTo>
                <a:cubicBezTo>
                  <a:pt x="2057588" y="959586"/>
                  <a:pt x="1926288" y="931439"/>
                  <a:pt x="1775860" y="930564"/>
                </a:cubicBezTo>
                <a:cubicBezTo>
                  <a:pt x="1625432" y="929689"/>
                  <a:pt x="1389874" y="923286"/>
                  <a:pt x="1112872" y="930564"/>
                </a:cubicBezTo>
                <a:cubicBezTo>
                  <a:pt x="835870" y="937842"/>
                  <a:pt x="238890" y="927822"/>
                  <a:pt x="0" y="930564"/>
                </a:cubicBezTo>
                <a:cubicBezTo>
                  <a:pt x="15072" y="793069"/>
                  <a:pt x="3541" y="661091"/>
                  <a:pt x="0" y="446671"/>
                </a:cubicBezTo>
                <a:cubicBezTo>
                  <a:pt x="-3541" y="232251"/>
                  <a:pt x="-21153" y="125290"/>
                  <a:pt x="0" y="0"/>
                </a:cubicBezTo>
                <a:close/>
              </a:path>
            </a:pathLst>
          </a:custGeom>
          <a:noFill/>
          <a:ln w="19050">
            <a:solidFill>
              <a:srgbClr val="002060"/>
            </a:solidFill>
            <a:extLst>
              <a:ext uri="{C807C97D-BFC1-408E-A445-0C87EB9F89A2}">
                <ask:lineSketchStyleProps xmlns:ask="http://schemas.microsoft.com/office/drawing/2018/sketchyshapes" xmlns="" sd="1218447764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0012"/>
            <a:endParaRPr lang="ru-RU" sz="2362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AE1A81-ECA7-715A-07C3-264A49511C8B}"/>
              </a:ext>
            </a:extLst>
          </p:cNvPr>
          <p:cNvSpPr txBox="1"/>
          <p:nvPr/>
        </p:nvSpPr>
        <p:spPr>
          <a:xfrm>
            <a:off x="12100765" y="4029011"/>
            <a:ext cx="3339717" cy="375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1837">
                <a:solidFill>
                  <a:srgbClr val="F5F5F5">
                    <a:lumMod val="10000"/>
                  </a:srgbClr>
                </a:solidFill>
                <a:latin typeface="Verdana"/>
              </a:rPr>
              <a:t>Росздравнадзор</a:t>
            </a:r>
            <a:endParaRPr lang="en-US" sz="1837">
              <a:solidFill>
                <a:srgbClr val="F5F5F5">
                  <a:lumMod val="10000"/>
                </a:srgbClr>
              </a:solidFill>
              <a:latin typeface="Verdana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FCDD43A-B610-5EED-0563-F1DCC654BC2A}"/>
              </a:ext>
            </a:extLst>
          </p:cNvPr>
          <p:cNvSpPr txBox="1"/>
          <p:nvPr/>
        </p:nvSpPr>
        <p:spPr>
          <a:xfrm>
            <a:off x="11740710" y="4959574"/>
            <a:ext cx="4008740" cy="29193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0012"/>
            <a:r>
              <a:rPr lang="ru-RU" sz="1837" b="1">
                <a:solidFill>
                  <a:prstClr val="black"/>
                </a:solidFill>
                <a:latin typeface="Verdana"/>
              </a:rPr>
              <a:t>Адрес</a:t>
            </a:r>
          </a:p>
          <a:p>
            <a:pPr algn="ctr" defTabSz="600012"/>
            <a:r>
              <a:rPr lang="ru-RU" sz="1837">
                <a:solidFill>
                  <a:prstClr val="black"/>
                </a:solidFill>
                <a:latin typeface="Verdana"/>
              </a:rPr>
              <a:t>Россия, г. Москва, Славянская площадь, д. 4, с. 1</a:t>
            </a:r>
            <a:br>
              <a:rPr lang="ru-RU" sz="1837">
                <a:solidFill>
                  <a:prstClr val="black"/>
                </a:solidFill>
                <a:latin typeface="Verdana"/>
              </a:rPr>
            </a:br>
            <a:endParaRPr lang="en-US" sz="1837">
              <a:solidFill>
                <a:prstClr val="black"/>
              </a:solidFill>
              <a:latin typeface="Verdana"/>
            </a:endParaRPr>
          </a:p>
          <a:p>
            <a:pPr algn="ctr" defTabSz="600012"/>
            <a:r>
              <a:rPr lang="ru-RU" sz="1837" b="1">
                <a:solidFill>
                  <a:prstClr val="black"/>
                </a:solidFill>
                <a:latin typeface="Verdana"/>
              </a:rPr>
              <a:t>Сайт</a:t>
            </a:r>
            <a:endParaRPr lang="en-US" sz="1837" b="1">
              <a:solidFill>
                <a:prstClr val="black"/>
              </a:solidFill>
              <a:latin typeface="Verdana"/>
            </a:endParaRPr>
          </a:p>
          <a:p>
            <a:pPr algn="ctr" defTabSz="600012"/>
            <a:r>
              <a:rPr lang="ru-RU" sz="1837" b="1">
                <a:solidFill>
                  <a:prstClr val="black"/>
                </a:solidFill>
                <a:latin typeface="Verdana"/>
              </a:rPr>
              <a:t> </a:t>
            </a:r>
            <a:r>
              <a:rPr lang="en-US" sz="1837">
                <a:solidFill>
                  <a:prstClr val="black"/>
                </a:solidFill>
                <a:latin typeface="Verdana"/>
              </a:rPr>
              <a:t>www.roszdravnadzor.ru</a:t>
            </a:r>
            <a:endParaRPr lang="ru-RU" sz="1837">
              <a:solidFill>
                <a:prstClr val="black"/>
              </a:solidFill>
              <a:latin typeface="Verdana"/>
            </a:endParaRPr>
          </a:p>
          <a:p>
            <a:pPr algn="ctr" defTabSz="600012"/>
            <a:r>
              <a:rPr lang="ru-RU" sz="1837">
                <a:solidFill>
                  <a:prstClr val="black"/>
                </a:solidFill>
                <a:latin typeface="Verdana"/>
              </a:rPr>
              <a:t/>
            </a:r>
            <a:br>
              <a:rPr lang="ru-RU" sz="1837">
                <a:solidFill>
                  <a:prstClr val="black"/>
                </a:solidFill>
                <a:latin typeface="Verdana"/>
              </a:rPr>
            </a:br>
            <a:r>
              <a:rPr lang="ru-RU" sz="1837" b="1">
                <a:solidFill>
                  <a:prstClr val="black"/>
                </a:solidFill>
                <a:latin typeface="Verdana"/>
              </a:rPr>
              <a:t>Телефоны</a:t>
            </a:r>
          </a:p>
          <a:p>
            <a:pPr algn="ctr" defTabSz="600012"/>
            <a:r>
              <a:rPr lang="en-US" sz="1837">
                <a:solidFill>
                  <a:prstClr val="black"/>
                </a:solidFill>
                <a:latin typeface="Verdana"/>
              </a:rPr>
              <a:t>+7 (495) </a:t>
            </a:r>
            <a:r>
              <a:rPr lang="ru-RU" sz="1837">
                <a:solidFill>
                  <a:prstClr val="black"/>
                </a:solidFill>
                <a:latin typeface="Verdana"/>
              </a:rPr>
              <a:t>698-45-38</a:t>
            </a:r>
          </a:p>
          <a:p>
            <a:pPr algn="ctr" defTabSz="600012"/>
            <a:r>
              <a:rPr lang="ru-RU" sz="1837">
                <a:solidFill>
                  <a:prstClr val="black"/>
                </a:solidFill>
                <a:latin typeface="Verdana"/>
              </a:rPr>
              <a:t>+7 (499) 578-02-30</a:t>
            </a:r>
            <a:endParaRPr lang="en-US" sz="1837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44712F7-07E2-10E7-0D7F-F299745B426B}"/>
              </a:ext>
            </a:extLst>
          </p:cNvPr>
          <p:cNvSpPr txBox="1"/>
          <p:nvPr/>
        </p:nvSpPr>
        <p:spPr>
          <a:xfrm>
            <a:off x="1058014" y="6415717"/>
            <a:ext cx="5001031" cy="15058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0012"/>
            <a:r>
              <a:rPr lang="ru-RU" sz="1837" dirty="0">
                <a:solidFill>
                  <a:prstClr val="black"/>
                </a:solidFill>
                <a:latin typeface="Verdana"/>
              </a:rPr>
              <a:t>В случае наступления нежелательных явлений в первую очередь нужно </a:t>
            </a:r>
            <a:r>
              <a:rPr lang="ru-RU" sz="1837" b="1" dirty="0">
                <a:solidFill>
                  <a:prstClr val="black"/>
                </a:solidFill>
                <a:latin typeface="Verdana"/>
              </a:rPr>
              <a:t>обратиться к лечащему врачу, </a:t>
            </a:r>
            <a:br>
              <a:rPr lang="ru-RU" sz="1837" b="1" dirty="0">
                <a:solidFill>
                  <a:prstClr val="black"/>
                </a:solidFill>
                <a:latin typeface="Verdana"/>
              </a:rPr>
            </a:br>
            <a:r>
              <a:rPr lang="ru-RU" sz="1837" b="1" dirty="0">
                <a:solidFill>
                  <a:prstClr val="black"/>
                </a:solidFill>
                <a:latin typeface="Verdana"/>
              </a:rPr>
              <a:t>а в тяжелых случая вызвать скорую</a:t>
            </a:r>
            <a:endParaRPr lang="en-US" sz="1837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" name="Полилиния: фигура 14">
            <a:extLst>
              <a:ext uri="{FF2B5EF4-FFF2-40B4-BE49-F238E27FC236}">
                <a16:creationId xmlns:a16="http://schemas.microsoft.com/office/drawing/2014/main" id="{E3555C4D-8832-DE57-FF07-319A90C0D76D}"/>
              </a:ext>
            </a:extLst>
          </p:cNvPr>
          <p:cNvSpPr/>
          <p:nvPr/>
        </p:nvSpPr>
        <p:spPr>
          <a:xfrm flipV="1">
            <a:off x="1232199" y="1899755"/>
            <a:ext cx="4958390" cy="1427796"/>
          </a:xfrm>
          <a:custGeom>
            <a:avLst/>
            <a:gdLst>
              <a:gd name="connsiteX0" fmla="*/ 0 w 1508502"/>
              <a:gd name="connsiteY0" fmla="*/ 0 h 1901125"/>
              <a:gd name="connsiteX1" fmla="*/ 1508502 w 1508502"/>
              <a:gd name="connsiteY1" fmla="*/ 0 h 1901125"/>
              <a:gd name="connsiteX2" fmla="*/ 1508502 w 1508502"/>
              <a:gd name="connsiteY2" fmla="*/ 1901125 h 190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08502" h="1901125">
                <a:moveTo>
                  <a:pt x="0" y="0"/>
                </a:moveTo>
                <a:lnTo>
                  <a:pt x="1508502" y="0"/>
                </a:lnTo>
                <a:lnTo>
                  <a:pt x="1508502" y="1901125"/>
                </a:lnTo>
              </a:path>
            </a:pathLst>
          </a:custGeom>
          <a:noFill/>
          <a:ln w="9525" cap="rnd">
            <a:solidFill>
              <a:srgbClr val="6D6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99977">
              <a:defRPr/>
            </a:pPr>
            <a:endParaRPr lang="ru-RU" sz="3150">
              <a:solidFill>
                <a:prstClr val="white"/>
              </a:solidFill>
              <a:latin typeface="Sanofi Sans"/>
            </a:endParaRPr>
          </a:p>
        </p:txBody>
      </p:sp>
      <p:sp>
        <p:nvSpPr>
          <p:cNvPr id="13" name="Полилиния: фигура 14">
            <a:extLst>
              <a:ext uri="{FF2B5EF4-FFF2-40B4-BE49-F238E27FC236}">
                <a16:creationId xmlns:a16="http://schemas.microsoft.com/office/drawing/2014/main" id="{805D197C-2F90-4866-BE82-F18F0085271F}"/>
              </a:ext>
            </a:extLst>
          </p:cNvPr>
          <p:cNvSpPr/>
          <p:nvPr/>
        </p:nvSpPr>
        <p:spPr>
          <a:xfrm flipV="1">
            <a:off x="1232199" y="3707977"/>
            <a:ext cx="4958390" cy="2230633"/>
          </a:xfrm>
          <a:custGeom>
            <a:avLst/>
            <a:gdLst>
              <a:gd name="connsiteX0" fmla="*/ 0 w 1508502"/>
              <a:gd name="connsiteY0" fmla="*/ 0 h 1901125"/>
              <a:gd name="connsiteX1" fmla="*/ 1508502 w 1508502"/>
              <a:gd name="connsiteY1" fmla="*/ 0 h 1901125"/>
              <a:gd name="connsiteX2" fmla="*/ 1508502 w 1508502"/>
              <a:gd name="connsiteY2" fmla="*/ 1901125 h 190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08502" h="1901125">
                <a:moveTo>
                  <a:pt x="0" y="0"/>
                </a:moveTo>
                <a:lnTo>
                  <a:pt x="1508502" y="0"/>
                </a:lnTo>
                <a:lnTo>
                  <a:pt x="1508502" y="1901125"/>
                </a:lnTo>
              </a:path>
            </a:pathLst>
          </a:custGeom>
          <a:noFill/>
          <a:ln w="9525" cap="rnd">
            <a:solidFill>
              <a:srgbClr val="6D6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99977">
              <a:defRPr/>
            </a:pPr>
            <a:endParaRPr lang="ru-RU" sz="3150">
              <a:solidFill>
                <a:prstClr val="white"/>
              </a:solidFill>
              <a:latin typeface="Sanofi Sans"/>
            </a:endParaRPr>
          </a:p>
        </p:txBody>
      </p:sp>
      <p:sp>
        <p:nvSpPr>
          <p:cNvPr id="21" name="Полилиния: фигура 14">
            <a:extLst>
              <a:ext uri="{FF2B5EF4-FFF2-40B4-BE49-F238E27FC236}">
                <a16:creationId xmlns:a16="http://schemas.microsoft.com/office/drawing/2014/main" id="{29B0833D-58DA-DABE-2051-BF94B11011F3}"/>
              </a:ext>
            </a:extLst>
          </p:cNvPr>
          <p:cNvSpPr/>
          <p:nvPr/>
        </p:nvSpPr>
        <p:spPr>
          <a:xfrm flipV="1">
            <a:off x="1232198" y="6413717"/>
            <a:ext cx="4999951" cy="1703839"/>
          </a:xfrm>
          <a:custGeom>
            <a:avLst/>
            <a:gdLst>
              <a:gd name="connsiteX0" fmla="*/ 0 w 1508502"/>
              <a:gd name="connsiteY0" fmla="*/ 0 h 1901125"/>
              <a:gd name="connsiteX1" fmla="*/ 1508502 w 1508502"/>
              <a:gd name="connsiteY1" fmla="*/ 0 h 1901125"/>
              <a:gd name="connsiteX2" fmla="*/ 1508502 w 1508502"/>
              <a:gd name="connsiteY2" fmla="*/ 1901125 h 190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08502" h="1901125">
                <a:moveTo>
                  <a:pt x="0" y="0"/>
                </a:moveTo>
                <a:lnTo>
                  <a:pt x="1508502" y="0"/>
                </a:lnTo>
                <a:lnTo>
                  <a:pt x="1508502" y="1901125"/>
                </a:lnTo>
              </a:path>
            </a:pathLst>
          </a:custGeom>
          <a:noFill/>
          <a:ln w="9525" cap="rnd">
            <a:solidFill>
              <a:srgbClr val="6D6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99977">
              <a:defRPr/>
            </a:pPr>
            <a:endParaRPr lang="ru-RU" sz="3150">
              <a:solidFill>
                <a:prstClr val="white"/>
              </a:solidFill>
              <a:latin typeface="Sanofi Sans"/>
            </a:endParaRPr>
          </a:p>
        </p:txBody>
      </p:sp>
    </p:spTree>
    <p:extLst>
      <p:ext uri="{BB962C8B-B14F-4D97-AF65-F5344CB8AC3E}">
        <p14:creationId xmlns:p14="http://schemas.microsoft.com/office/powerpoint/2010/main" val="4244581738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F48DD8-2A3D-B80B-CFDA-6CAB402C6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Freeform: Shape 455">
            <a:extLst>
              <a:ext uri="{FF2B5EF4-FFF2-40B4-BE49-F238E27FC236}">
                <a16:creationId xmlns:a16="http://schemas.microsoft.com/office/drawing/2014/main" id="{89641598-4D29-BB35-91C3-06D7D37CD7D9}"/>
              </a:ext>
            </a:extLst>
          </p:cNvPr>
          <p:cNvSpPr/>
          <p:nvPr/>
        </p:nvSpPr>
        <p:spPr>
          <a:xfrm flipH="1">
            <a:off x="9047724" y="0"/>
            <a:ext cx="6622656" cy="8999538"/>
          </a:xfrm>
          <a:custGeom>
            <a:avLst/>
            <a:gdLst>
              <a:gd name="connsiteX0" fmla="*/ 4975880 w 6257364"/>
              <a:gd name="connsiteY0" fmla="*/ 0 h 8999538"/>
              <a:gd name="connsiteX1" fmla="*/ 0 w 6257364"/>
              <a:gd name="connsiteY1" fmla="*/ 0 h 8999538"/>
              <a:gd name="connsiteX2" fmla="*/ 0 w 6257364"/>
              <a:gd name="connsiteY2" fmla="*/ 8999538 h 8999538"/>
              <a:gd name="connsiteX3" fmla="*/ 4975880 w 6257364"/>
              <a:gd name="connsiteY3" fmla="*/ 8999538 h 8999538"/>
              <a:gd name="connsiteX4" fmla="*/ 5020459 w 6257364"/>
              <a:gd name="connsiteY4" fmla="*/ 8930002 h 8999538"/>
              <a:gd name="connsiteX5" fmla="*/ 6257364 w 6257364"/>
              <a:gd name="connsiteY5" fmla="*/ 4499769 h 8999538"/>
              <a:gd name="connsiteX6" fmla="*/ 5020459 w 6257364"/>
              <a:gd name="connsiteY6" fmla="*/ 69536 h 8999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57364" h="8999538">
                <a:moveTo>
                  <a:pt x="4975880" y="0"/>
                </a:moveTo>
                <a:lnTo>
                  <a:pt x="0" y="0"/>
                </a:lnTo>
                <a:lnTo>
                  <a:pt x="0" y="8999538"/>
                </a:lnTo>
                <a:lnTo>
                  <a:pt x="4975880" y="8999538"/>
                </a:lnTo>
                <a:lnTo>
                  <a:pt x="5020459" y="8930002"/>
                </a:lnTo>
                <a:cubicBezTo>
                  <a:pt x="5805368" y="7638217"/>
                  <a:pt x="6257364" y="6121777"/>
                  <a:pt x="6257364" y="4499769"/>
                </a:cubicBezTo>
                <a:cubicBezTo>
                  <a:pt x="6257364" y="2877761"/>
                  <a:pt x="5805368" y="1361322"/>
                  <a:pt x="5020459" y="69536"/>
                </a:cubicBezTo>
                <a:close/>
              </a:path>
            </a:pathLst>
          </a:custGeom>
          <a:noFill/>
          <a:ln>
            <a:gradFill flip="none" rotWithShape="1">
              <a:gsLst>
                <a:gs pos="0">
                  <a:schemeClr val="bg1"/>
                </a:gs>
                <a:gs pos="100000">
                  <a:schemeClr val="bg1"/>
                </a:gs>
              </a:gsLst>
              <a:lin ang="13500000" scaled="1"/>
              <a:tileRect/>
            </a:gradFill>
          </a:ln>
          <a:effectLst>
            <a:glow rad="254000">
              <a:schemeClr val="accent2">
                <a:satMod val="175000"/>
                <a:alpha val="2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22">
              <a:defRPr/>
            </a:pPr>
            <a:endParaRPr lang="en-US" sz="1801" b="1" dirty="0">
              <a:solidFill>
                <a:prstClr val="white"/>
              </a:solidFill>
              <a:latin typeface="Sanofi Sans" panose="02010503030201020103" pitchFamily="2" charset="77"/>
            </a:endParaRPr>
          </a:p>
        </p:txBody>
      </p:sp>
      <p:sp>
        <p:nvSpPr>
          <p:cNvPr id="457" name="Freeform: Shape 456">
            <a:extLst>
              <a:ext uri="{FF2B5EF4-FFF2-40B4-BE49-F238E27FC236}">
                <a16:creationId xmlns:a16="http://schemas.microsoft.com/office/drawing/2014/main" id="{3CE22E2D-F78B-9EFE-C458-0FF6880E00E4}"/>
              </a:ext>
            </a:extLst>
          </p:cNvPr>
          <p:cNvSpPr/>
          <p:nvPr/>
        </p:nvSpPr>
        <p:spPr>
          <a:xfrm flipH="1">
            <a:off x="8682434" y="6113514"/>
            <a:ext cx="6622656" cy="2886025"/>
          </a:xfrm>
          <a:custGeom>
            <a:avLst/>
            <a:gdLst>
              <a:gd name="connsiteX0" fmla="*/ 6622655 w 6622655"/>
              <a:gd name="connsiteY0" fmla="*/ 5394392 h 5394392"/>
              <a:gd name="connsiteX1" fmla="*/ 0 w 6622655"/>
              <a:gd name="connsiteY1" fmla="*/ 5394392 h 5394392"/>
              <a:gd name="connsiteX2" fmla="*/ 0 w 6622655"/>
              <a:gd name="connsiteY2" fmla="*/ 0 h 5394392"/>
              <a:gd name="connsiteX3" fmla="*/ 6622655 w 6622655"/>
              <a:gd name="connsiteY3" fmla="*/ 0 h 539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22655" h="5394392">
                <a:moveTo>
                  <a:pt x="6622655" y="5394392"/>
                </a:moveTo>
                <a:lnTo>
                  <a:pt x="0" y="5394392"/>
                </a:lnTo>
                <a:lnTo>
                  <a:pt x="0" y="0"/>
                </a:lnTo>
                <a:lnTo>
                  <a:pt x="6622655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accent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4812">
              <a:defRPr/>
            </a:pPr>
            <a:endParaRPr lang="en-US" dirty="0">
              <a:solidFill>
                <a:prstClr val="white"/>
              </a:solidFill>
              <a:latin typeface="Sanofi Sans" panose="02010503030201020103" pitchFamily="50" charset="0"/>
            </a:endParaRPr>
          </a:p>
        </p:txBody>
      </p:sp>
      <p:sp>
        <p:nvSpPr>
          <p:cNvPr id="458" name="Freeform: Shape 457">
            <a:extLst>
              <a:ext uri="{FF2B5EF4-FFF2-40B4-BE49-F238E27FC236}">
                <a16:creationId xmlns:a16="http://schemas.microsoft.com/office/drawing/2014/main" id="{B03BA1AD-9F94-7B27-61AB-FBB87E1C3C3F}"/>
              </a:ext>
            </a:extLst>
          </p:cNvPr>
          <p:cNvSpPr/>
          <p:nvPr/>
        </p:nvSpPr>
        <p:spPr>
          <a:xfrm flipH="1" flipV="1">
            <a:off x="8682434" y="0"/>
            <a:ext cx="6622656" cy="2880459"/>
          </a:xfrm>
          <a:custGeom>
            <a:avLst/>
            <a:gdLst>
              <a:gd name="connsiteX0" fmla="*/ 6622655 w 6622655"/>
              <a:gd name="connsiteY0" fmla="*/ 5394392 h 5394392"/>
              <a:gd name="connsiteX1" fmla="*/ 0 w 6622655"/>
              <a:gd name="connsiteY1" fmla="*/ 5394392 h 5394392"/>
              <a:gd name="connsiteX2" fmla="*/ 0 w 6622655"/>
              <a:gd name="connsiteY2" fmla="*/ 0 h 5394392"/>
              <a:gd name="connsiteX3" fmla="*/ 6622655 w 6622655"/>
              <a:gd name="connsiteY3" fmla="*/ 0 h 539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22655" h="5394392">
                <a:moveTo>
                  <a:pt x="6622655" y="5394392"/>
                </a:moveTo>
                <a:lnTo>
                  <a:pt x="0" y="5394392"/>
                </a:lnTo>
                <a:lnTo>
                  <a:pt x="0" y="0"/>
                </a:lnTo>
                <a:lnTo>
                  <a:pt x="6622655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accent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4812">
              <a:defRPr/>
            </a:pPr>
            <a:endParaRPr lang="en-US" dirty="0">
              <a:solidFill>
                <a:prstClr val="white"/>
              </a:solidFill>
              <a:latin typeface="Sanofi Sans" panose="02010503030201020103" pitchFamily="50" charset="0"/>
            </a:endParaRPr>
          </a:p>
        </p:txBody>
      </p:sp>
      <p:sp>
        <p:nvSpPr>
          <p:cNvPr id="471" name="Freeform: Shape 470">
            <a:extLst>
              <a:ext uri="{FF2B5EF4-FFF2-40B4-BE49-F238E27FC236}">
                <a16:creationId xmlns:a16="http://schemas.microsoft.com/office/drawing/2014/main" id="{23D99BFF-65A7-19FA-6A56-9FA115417BCB}"/>
              </a:ext>
            </a:extLst>
          </p:cNvPr>
          <p:cNvSpPr>
            <a:spLocks/>
          </p:cNvSpPr>
          <p:nvPr/>
        </p:nvSpPr>
        <p:spPr>
          <a:xfrm flipH="1">
            <a:off x="9460405" y="-166278"/>
            <a:ext cx="7038456" cy="9332098"/>
          </a:xfrm>
          <a:custGeom>
            <a:avLst/>
            <a:gdLst>
              <a:gd name="connsiteX0" fmla="*/ 5207163 w 6787632"/>
              <a:gd name="connsiteY0" fmla="*/ 0 h 8999538"/>
              <a:gd name="connsiteX1" fmla="*/ 0 w 6787632"/>
              <a:gd name="connsiteY1" fmla="*/ 0 h 8999538"/>
              <a:gd name="connsiteX2" fmla="*/ 0 w 6787632"/>
              <a:gd name="connsiteY2" fmla="*/ 8999538 h 8999538"/>
              <a:gd name="connsiteX3" fmla="*/ 5207163 w 6787632"/>
              <a:gd name="connsiteY3" fmla="*/ 8999538 h 8999538"/>
              <a:gd name="connsiteX4" fmla="*/ 5330993 w 6787632"/>
              <a:gd name="connsiteY4" fmla="*/ 8842930 h 8999538"/>
              <a:gd name="connsiteX5" fmla="*/ 6787632 w 6787632"/>
              <a:gd name="connsiteY5" fmla="*/ 4499769 h 8999538"/>
              <a:gd name="connsiteX6" fmla="*/ 5330993 w 6787632"/>
              <a:gd name="connsiteY6" fmla="*/ 156609 h 8999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87632" h="8999538">
                <a:moveTo>
                  <a:pt x="5207163" y="0"/>
                </a:moveTo>
                <a:lnTo>
                  <a:pt x="0" y="0"/>
                </a:lnTo>
                <a:lnTo>
                  <a:pt x="0" y="8999538"/>
                </a:lnTo>
                <a:lnTo>
                  <a:pt x="5207163" y="8999538"/>
                </a:lnTo>
                <a:lnTo>
                  <a:pt x="5330993" y="8842930"/>
                </a:lnTo>
                <a:cubicBezTo>
                  <a:pt x="6245251" y="7635558"/>
                  <a:pt x="6787632" y="6131004"/>
                  <a:pt x="6787632" y="4499769"/>
                </a:cubicBezTo>
                <a:cubicBezTo>
                  <a:pt x="6787632" y="2868535"/>
                  <a:pt x="6245251" y="1363981"/>
                  <a:pt x="5330993" y="156609"/>
                </a:cubicBezTo>
                <a:close/>
              </a:path>
            </a:pathLst>
          </a:custGeom>
          <a:noFill/>
          <a:ln>
            <a:solidFill>
              <a:srgbClr val="FFFFFF"/>
            </a:solidFill>
          </a:ln>
          <a:effectLst>
            <a:glow rad="254000">
              <a:schemeClr val="accent2">
                <a:satMod val="175000"/>
                <a:alpha val="2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22">
              <a:defRPr/>
            </a:pPr>
            <a:endParaRPr lang="en-US" sz="1801" b="1" dirty="0">
              <a:solidFill>
                <a:srgbClr val="7A00E6"/>
              </a:solidFill>
              <a:latin typeface="Sanofi Sans" panose="02010503030201020103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4EEA09E-6E69-288D-96CB-C78CD9A8005C}"/>
              </a:ext>
            </a:extLst>
          </p:cNvPr>
          <p:cNvCxnSpPr>
            <a:cxnSpLocks/>
          </p:cNvCxnSpPr>
          <p:nvPr/>
        </p:nvCxnSpPr>
        <p:spPr>
          <a:xfrm>
            <a:off x="10454498" y="3275807"/>
            <a:ext cx="517013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accent1">
                    <a:lumMod val="30000"/>
                    <a:lumOff val="70000"/>
                    <a:alpha val="7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9D46737B-12C5-1E1C-7E50-CBEDE9AD2024}"/>
              </a:ext>
            </a:extLst>
          </p:cNvPr>
          <p:cNvSpPr txBox="1">
            <a:spLocks/>
          </p:cNvSpPr>
          <p:nvPr/>
        </p:nvSpPr>
        <p:spPr>
          <a:xfrm>
            <a:off x="11414145" y="1454277"/>
            <a:ext cx="3890946" cy="156583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  <a:defRPr sz="9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1pPr>
            <a:lvl2pPr marL="3456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Segoe UI Light" panose="020B0502040204020203" pitchFamily="34" charset="0"/>
              <a:buChar char="−"/>
              <a:defRPr sz="8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Courier New" panose="02070309020205020404" pitchFamily="49" charset="0"/>
              <a:buChar char="o"/>
              <a:defRPr sz="7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33">
              <a:spcAft>
                <a:spcPts val="600"/>
              </a:spcAft>
              <a:buClr>
                <a:srgbClr val="EFECE8">
                  <a:lumMod val="50000"/>
                </a:srgbClr>
              </a:buClr>
              <a:buNone/>
              <a:defRPr/>
            </a:pPr>
            <a:r>
              <a:rPr lang="en-US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Незапланированное обсуждение рецептурных препаратов с пациентами — прямое нарушение ФЗ №61</a:t>
            </a:r>
            <a:r>
              <a:rPr lang="ru-RU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 «Об обращении лекарственных средств»</a:t>
            </a:r>
            <a:endParaRPr lang="en-US" sz="1400" noProof="1">
              <a:solidFill>
                <a:srgbClr val="23004C">
                  <a:lumMod val="75000"/>
                  <a:lumOff val="25000"/>
                </a:srgbClr>
              </a:solidFill>
              <a:latin typeface="Sanofi Sans" panose="02010503030201020103" pitchFamily="50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F06D5E-7069-49DD-2DA7-D691913A4858}"/>
              </a:ext>
            </a:extLst>
          </p:cNvPr>
          <p:cNvSpPr txBox="1"/>
          <p:nvPr/>
        </p:nvSpPr>
        <p:spPr>
          <a:xfrm>
            <a:off x="11414143" y="959517"/>
            <a:ext cx="4731386" cy="430887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defTabSz="604812">
              <a:defRPr/>
            </a:pPr>
            <a:r>
              <a:rPr lang="da-DK" sz="2800" dirty="0">
                <a:solidFill>
                  <a:srgbClr val="23004C">
                    <a:lumMod val="75000"/>
                    <a:lumOff val="25000"/>
                  </a:srgbClr>
                </a:solidFill>
                <a:latin typeface="Sanofi Serif Italic" panose="02060503060201090102" pitchFamily="18" charset="0"/>
              </a:rPr>
              <a:t>Проблема</a:t>
            </a:r>
            <a:endParaRPr lang="en-US" sz="2800" dirty="0">
              <a:solidFill>
                <a:srgbClr val="23004C">
                  <a:lumMod val="75000"/>
                  <a:lumOff val="25000"/>
                </a:srgbClr>
              </a:solidFill>
              <a:latin typeface="Sanofi Serif Italic" panose="02060503060201090102" pitchFamily="18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CECCF85-7424-57E2-7E11-D9C8EEB85E68}"/>
              </a:ext>
            </a:extLst>
          </p:cNvPr>
          <p:cNvGrpSpPr/>
          <p:nvPr/>
        </p:nvGrpSpPr>
        <p:grpSpPr>
          <a:xfrm>
            <a:off x="10454499" y="1162822"/>
            <a:ext cx="623952" cy="623673"/>
            <a:chOff x="10647695" y="1363467"/>
            <a:chExt cx="623952" cy="623672"/>
          </a:xfrm>
        </p:grpSpPr>
        <p:sp>
          <p:nvSpPr>
            <p:cNvPr id="18" name="Graphic 14">
              <a:extLst>
                <a:ext uri="{FF2B5EF4-FFF2-40B4-BE49-F238E27FC236}">
                  <a16:creationId xmlns:a16="http://schemas.microsoft.com/office/drawing/2014/main" id="{BD320C40-0066-35D7-2FBB-6D56867F1C80}"/>
                </a:ext>
              </a:extLst>
            </p:cNvPr>
            <p:cNvSpPr>
              <a:spLocks/>
            </p:cNvSpPr>
            <p:nvPr/>
          </p:nvSpPr>
          <p:spPr>
            <a:xfrm>
              <a:off x="10647695" y="1363467"/>
              <a:ext cx="623952" cy="623672"/>
            </a:xfrm>
            <a:custGeom>
              <a:avLst/>
              <a:gdLst>
                <a:gd name="connsiteX0" fmla="*/ 1200964 w 2454829"/>
                <a:gd name="connsiteY0" fmla="*/ 0 h 2434887"/>
                <a:gd name="connsiteX1" fmla="*/ 0 w 2454829"/>
                <a:gd name="connsiteY1" fmla="*/ 1217444 h 2434887"/>
                <a:gd name="connsiteX2" fmla="*/ 1253865 w 2454829"/>
                <a:gd name="connsiteY2" fmla="*/ 2434888 h 2434887"/>
                <a:gd name="connsiteX3" fmla="*/ 2454830 w 2454829"/>
                <a:gd name="connsiteY3" fmla="*/ 1217444 h 2434887"/>
                <a:gd name="connsiteX4" fmla="*/ 1200964 w 2454829"/>
                <a:gd name="connsiteY4" fmla="*/ 0 h 2434887"/>
                <a:gd name="connsiteX5" fmla="*/ 1200964 w 2454829"/>
                <a:gd name="connsiteY5" fmla="*/ 0 h 243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829" h="2434887">
                  <a:moveTo>
                    <a:pt x="1200964" y="0"/>
                  </a:moveTo>
                  <a:cubicBezTo>
                    <a:pt x="476859" y="0"/>
                    <a:pt x="0" y="458780"/>
                    <a:pt x="0" y="1217444"/>
                  </a:cubicBezTo>
                  <a:cubicBezTo>
                    <a:pt x="0" y="1976108"/>
                    <a:pt x="476859" y="2434888"/>
                    <a:pt x="1253865" y="2434888"/>
                  </a:cubicBezTo>
                  <a:cubicBezTo>
                    <a:pt x="1977971" y="2434888"/>
                    <a:pt x="2454830" y="1958579"/>
                    <a:pt x="2454830" y="1217444"/>
                  </a:cubicBezTo>
                  <a:cubicBezTo>
                    <a:pt x="2454830" y="476308"/>
                    <a:pt x="1977971" y="0"/>
                    <a:pt x="1200964" y="0"/>
                  </a:cubicBezTo>
                  <a:lnTo>
                    <a:pt x="1200964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79000"/>
                  </a:schemeClr>
                </a:gs>
                <a:gs pos="100000">
                  <a:schemeClr val="bg1"/>
                </a:gs>
              </a:gsLst>
              <a:lin ang="13500000" scaled="1"/>
            </a:gradFill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3500000" scaled="1"/>
                <a:tileRect/>
              </a:gradFill>
            </a:ln>
            <a:effectLst>
              <a:glow rad="254000">
                <a:schemeClr val="accent2">
                  <a:satMod val="175000"/>
                  <a:alpha val="2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22">
                <a:defRPr/>
              </a:pPr>
              <a:endParaRPr lang="en-US" sz="1801" dirty="0">
                <a:solidFill>
                  <a:prstClr val="white"/>
                </a:solidFill>
                <a:latin typeface="Sanofi Sans" panose="02010503030201020103" pitchFamily="2" charset="77"/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E53F08C5-E4AE-38A1-22ED-57E04EAB35D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10795343" y="1538838"/>
              <a:ext cx="328656" cy="272930"/>
            </a:xfrm>
            <a:prstGeom prst="rect">
              <a:avLst/>
            </a:prstGeom>
          </p:spPr>
        </p:pic>
      </p:grp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4C81CA7-43EC-A167-F63D-F02DA46B7F54}"/>
              </a:ext>
            </a:extLst>
          </p:cNvPr>
          <p:cNvSpPr txBox="1">
            <a:spLocks/>
          </p:cNvSpPr>
          <p:nvPr/>
        </p:nvSpPr>
        <p:spPr>
          <a:xfrm>
            <a:off x="11414145" y="4193150"/>
            <a:ext cx="3890946" cy="1135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  <a:defRPr sz="9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1pPr>
            <a:lvl2pPr marL="3456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Segoe UI Light" panose="020B0502040204020203" pitchFamily="34" charset="0"/>
              <a:buChar char="−"/>
              <a:defRPr sz="8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Courier New" panose="02070309020205020404" pitchFamily="49" charset="0"/>
              <a:buChar char="o"/>
              <a:defRPr sz="7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33">
              <a:spcAft>
                <a:spcPts val="600"/>
              </a:spcAft>
              <a:buClr>
                <a:srgbClr val="EFECE8">
                  <a:lumMod val="50000"/>
                </a:srgbClr>
              </a:buClr>
              <a:buNone/>
              <a:defRPr/>
            </a:pPr>
            <a:r>
              <a:rPr lang="en-US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Оперативное вмешательство</a:t>
            </a:r>
            <a:r>
              <a:rPr lang="ru-RU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 и</a:t>
            </a:r>
            <a:r>
              <a:rPr lang="en-US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 корректировка программы</a:t>
            </a:r>
            <a:r>
              <a:rPr lang="ru-RU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.</a:t>
            </a:r>
            <a:r>
              <a:rPr lang="en-US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 </a:t>
            </a:r>
            <a:r>
              <a:rPr lang="ru-RU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С</a:t>
            </a:r>
            <a:r>
              <a:rPr lang="en-US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охранение партнёрства</a:t>
            </a:r>
            <a:endParaRPr lang="en-US" sz="1400" noProof="1">
              <a:solidFill>
                <a:srgbClr val="23004C">
                  <a:lumMod val="75000"/>
                  <a:lumOff val="25000"/>
                </a:srgbClr>
              </a:solidFill>
              <a:latin typeface="Sanofi Sans" panose="02010503030201020103" pitchFamily="50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0E69B1D-99DA-EAD8-3551-0E196C5AC5BF}"/>
              </a:ext>
            </a:extLst>
          </p:cNvPr>
          <p:cNvSpPr txBox="1"/>
          <p:nvPr/>
        </p:nvSpPr>
        <p:spPr>
          <a:xfrm>
            <a:off x="11414143" y="3698390"/>
            <a:ext cx="4731386" cy="430887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defTabSz="604812">
              <a:defRPr/>
            </a:pPr>
            <a:r>
              <a:rPr lang="da-DK" sz="2800" dirty="0">
                <a:solidFill>
                  <a:srgbClr val="23004C">
                    <a:lumMod val="75000"/>
                    <a:lumOff val="25000"/>
                  </a:srgbClr>
                </a:solidFill>
                <a:latin typeface="Sanofi Serif Italic" panose="02060503060201090102" pitchFamily="18" charset="0"/>
              </a:rPr>
              <a:t>Действие</a:t>
            </a:r>
            <a:endParaRPr lang="en-US" sz="2800" dirty="0">
              <a:solidFill>
                <a:srgbClr val="23004C">
                  <a:lumMod val="75000"/>
                  <a:lumOff val="25000"/>
                </a:srgbClr>
              </a:solidFill>
              <a:latin typeface="Sanofi Serif Italic" panose="02060503060201090102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D7FAD8A-9264-CB67-B6B8-8999521FE1DC}"/>
              </a:ext>
            </a:extLst>
          </p:cNvPr>
          <p:cNvGrpSpPr/>
          <p:nvPr/>
        </p:nvGrpSpPr>
        <p:grpSpPr>
          <a:xfrm>
            <a:off x="10454499" y="3860136"/>
            <a:ext cx="623952" cy="623673"/>
            <a:chOff x="10647695" y="1363467"/>
            <a:chExt cx="623952" cy="623672"/>
          </a:xfrm>
        </p:grpSpPr>
        <p:sp>
          <p:nvSpPr>
            <p:cNvPr id="27" name="Graphic 14">
              <a:extLst>
                <a:ext uri="{FF2B5EF4-FFF2-40B4-BE49-F238E27FC236}">
                  <a16:creationId xmlns:a16="http://schemas.microsoft.com/office/drawing/2014/main" id="{FB0181E9-CE67-EDD1-094A-29B0B2881007}"/>
                </a:ext>
              </a:extLst>
            </p:cNvPr>
            <p:cNvSpPr>
              <a:spLocks/>
            </p:cNvSpPr>
            <p:nvPr/>
          </p:nvSpPr>
          <p:spPr>
            <a:xfrm>
              <a:off x="10647695" y="1363467"/>
              <a:ext cx="623952" cy="623672"/>
            </a:xfrm>
            <a:custGeom>
              <a:avLst/>
              <a:gdLst>
                <a:gd name="connsiteX0" fmla="*/ 1200964 w 2454829"/>
                <a:gd name="connsiteY0" fmla="*/ 0 h 2434887"/>
                <a:gd name="connsiteX1" fmla="*/ 0 w 2454829"/>
                <a:gd name="connsiteY1" fmla="*/ 1217444 h 2434887"/>
                <a:gd name="connsiteX2" fmla="*/ 1253865 w 2454829"/>
                <a:gd name="connsiteY2" fmla="*/ 2434888 h 2434887"/>
                <a:gd name="connsiteX3" fmla="*/ 2454830 w 2454829"/>
                <a:gd name="connsiteY3" fmla="*/ 1217444 h 2434887"/>
                <a:gd name="connsiteX4" fmla="*/ 1200964 w 2454829"/>
                <a:gd name="connsiteY4" fmla="*/ 0 h 2434887"/>
                <a:gd name="connsiteX5" fmla="*/ 1200964 w 2454829"/>
                <a:gd name="connsiteY5" fmla="*/ 0 h 243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829" h="2434887">
                  <a:moveTo>
                    <a:pt x="1200964" y="0"/>
                  </a:moveTo>
                  <a:cubicBezTo>
                    <a:pt x="476859" y="0"/>
                    <a:pt x="0" y="458780"/>
                    <a:pt x="0" y="1217444"/>
                  </a:cubicBezTo>
                  <a:cubicBezTo>
                    <a:pt x="0" y="1976108"/>
                    <a:pt x="476859" y="2434888"/>
                    <a:pt x="1253865" y="2434888"/>
                  </a:cubicBezTo>
                  <a:cubicBezTo>
                    <a:pt x="1977971" y="2434888"/>
                    <a:pt x="2454830" y="1958579"/>
                    <a:pt x="2454830" y="1217444"/>
                  </a:cubicBezTo>
                  <a:cubicBezTo>
                    <a:pt x="2454830" y="476308"/>
                    <a:pt x="1977971" y="0"/>
                    <a:pt x="1200964" y="0"/>
                  </a:cubicBezTo>
                  <a:lnTo>
                    <a:pt x="1200964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79000"/>
                  </a:schemeClr>
                </a:gs>
                <a:gs pos="100000">
                  <a:schemeClr val="bg1"/>
                </a:gs>
              </a:gsLst>
              <a:lin ang="13500000" scaled="1"/>
            </a:gradFill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3500000" scaled="1"/>
                <a:tileRect/>
              </a:gradFill>
            </a:ln>
            <a:effectLst>
              <a:glow rad="254000">
                <a:schemeClr val="accent2">
                  <a:satMod val="175000"/>
                  <a:alpha val="2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22">
                <a:defRPr/>
              </a:pPr>
              <a:endParaRPr lang="en-US" sz="1801" dirty="0">
                <a:solidFill>
                  <a:prstClr val="white"/>
                </a:solidFill>
                <a:latin typeface="Sanofi Sans" panose="02010503030201020103" pitchFamily="2" charset="77"/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CF37AE92-9422-5F3E-C16B-99D04E0CBDE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10795343" y="1538838"/>
              <a:ext cx="328656" cy="272930"/>
            </a:xfrm>
            <a:prstGeom prst="rect">
              <a:avLst/>
            </a:prstGeom>
          </p:spPr>
        </p:pic>
      </p:grp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B389D068-CAD1-9EE2-2EC4-7BF3ABB5F82C}"/>
              </a:ext>
            </a:extLst>
          </p:cNvPr>
          <p:cNvSpPr txBox="1">
            <a:spLocks/>
          </p:cNvSpPr>
          <p:nvPr/>
        </p:nvSpPr>
        <p:spPr>
          <a:xfrm>
            <a:off x="11414145" y="6641077"/>
            <a:ext cx="3890946" cy="110799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  <a:defRPr sz="9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1pPr>
            <a:lvl2pPr marL="3456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Segoe UI Light" panose="020B0502040204020203" pitchFamily="34" charset="0"/>
              <a:buChar char="−"/>
              <a:defRPr sz="8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Courier New" panose="02070309020205020404" pitchFamily="49" charset="0"/>
              <a:buChar char="o"/>
              <a:defRPr sz="7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33">
              <a:spcAft>
                <a:spcPts val="600"/>
              </a:spcAft>
              <a:buClr>
                <a:srgbClr val="EFECE8">
                  <a:lumMod val="50000"/>
                </a:srgbClr>
              </a:buClr>
              <a:buNone/>
              <a:defRPr/>
            </a:pPr>
            <a:r>
              <a:rPr lang="en-US" sz="2000" noProof="1">
                <a:solidFill>
                  <a:srgbClr val="23004C">
                    <a:lumMod val="75000"/>
                    <a:lumOff val="25000"/>
                  </a:srgbClr>
                </a:solidFill>
                <a:latin typeface="Sanofi Sans" panose="02010503030201020103" pitchFamily="50" charset="0"/>
              </a:rPr>
              <a:t>Безопасность пациентов — прежде всего. «Нет» — тоже форма заботы о пациентах</a:t>
            </a:r>
            <a:endParaRPr lang="en-US" sz="1400" noProof="1">
              <a:solidFill>
                <a:srgbClr val="23004C">
                  <a:lumMod val="75000"/>
                  <a:lumOff val="25000"/>
                </a:srgbClr>
              </a:solidFill>
              <a:latin typeface="Sanofi Sans" panose="02010503030201020103" pitchFamily="50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446BE4C-F838-54A7-8CA7-1ABBB6C7A934}"/>
              </a:ext>
            </a:extLst>
          </p:cNvPr>
          <p:cNvSpPr txBox="1"/>
          <p:nvPr/>
        </p:nvSpPr>
        <p:spPr>
          <a:xfrm>
            <a:off x="11414143" y="6146316"/>
            <a:ext cx="4731386" cy="430887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defTabSz="604812">
              <a:defRPr/>
            </a:pPr>
            <a:r>
              <a:rPr lang="da-DK" sz="2800" dirty="0">
                <a:solidFill>
                  <a:srgbClr val="23004C">
                    <a:lumMod val="75000"/>
                    <a:lumOff val="25000"/>
                  </a:srgbClr>
                </a:solidFill>
                <a:latin typeface="Sanofi Serif Italic" panose="02060503060201090102" pitchFamily="18" charset="0"/>
              </a:rPr>
              <a:t>Вывод</a:t>
            </a:r>
            <a:endParaRPr lang="en-US" sz="2800" dirty="0">
              <a:solidFill>
                <a:srgbClr val="23004C">
                  <a:lumMod val="75000"/>
                  <a:lumOff val="25000"/>
                </a:srgbClr>
              </a:solidFill>
              <a:latin typeface="Sanofi Serif Italic" panose="02060503060201090102" pitchFamily="18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778B662-5D32-43C7-8B4E-909F44E6715E}"/>
              </a:ext>
            </a:extLst>
          </p:cNvPr>
          <p:cNvGrpSpPr/>
          <p:nvPr/>
        </p:nvGrpSpPr>
        <p:grpSpPr>
          <a:xfrm>
            <a:off x="10454499" y="6308062"/>
            <a:ext cx="623952" cy="623673"/>
            <a:chOff x="10647695" y="1363467"/>
            <a:chExt cx="623952" cy="623672"/>
          </a:xfrm>
        </p:grpSpPr>
        <p:sp>
          <p:nvSpPr>
            <p:cNvPr id="34" name="Graphic 14">
              <a:extLst>
                <a:ext uri="{FF2B5EF4-FFF2-40B4-BE49-F238E27FC236}">
                  <a16:creationId xmlns:a16="http://schemas.microsoft.com/office/drawing/2014/main" id="{603C8EF8-5F25-127D-FB88-8EA390A85042}"/>
                </a:ext>
              </a:extLst>
            </p:cNvPr>
            <p:cNvSpPr>
              <a:spLocks/>
            </p:cNvSpPr>
            <p:nvPr/>
          </p:nvSpPr>
          <p:spPr>
            <a:xfrm>
              <a:off x="10647695" y="1363467"/>
              <a:ext cx="623952" cy="623672"/>
            </a:xfrm>
            <a:custGeom>
              <a:avLst/>
              <a:gdLst>
                <a:gd name="connsiteX0" fmla="*/ 1200964 w 2454829"/>
                <a:gd name="connsiteY0" fmla="*/ 0 h 2434887"/>
                <a:gd name="connsiteX1" fmla="*/ 0 w 2454829"/>
                <a:gd name="connsiteY1" fmla="*/ 1217444 h 2434887"/>
                <a:gd name="connsiteX2" fmla="*/ 1253865 w 2454829"/>
                <a:gd name="connsiteY2" fmla="*/ 2434888 h 2434887"/>
                <a:gd name="connsiteX3" fmla="*/ 2454830 w 2454829"/>
                <a:gd name="connsiteY3" fmla="*/ 1217444 h 2434887"/>
                <a:gd name="connsiteX4" fmla="*/ 1200964 w 2454829"/>
                <a:gd name="connsiteY4" fmla="*/ 0 h 2434887"/>
                <a:gd name="connsiteX5" fmla="*/ 1200964 w 2454829"/>
                <a:gd name="connsiteY5" fmla="*/ 0 h 243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829" h="2434887">
                  <a:moveTo>
                    <a:pt x="1200964" y="0"/>
                  </a:moveTo>
                  <a:cubicBezTo>
                    <a:pt x="476859" y="0"/>
                    <a:pt x="0" y="458780"/>
                    <a:pt x="0" y="1217444"/>
                  </a:cubicBezTo>
                  <a:cubicBezTo>
                    <a:pt x="0" y="1976108"/>
                    <a:pt x="476859" y="2434888"/>
                    <a:pt x="1253865" y="2434888"/>
                  </a:cubicBezTo>
                  <a:cubicBezTo>
                    <a:pt x="1977971" y="2434888"/>
                    <a:pt x="2454830" y="1958579"/>
                    <a:pt x="2454830" y="1217444"/>
                  </a:cubicBezTo>
                  <a:cubicBezTo>
                    <a:pt x="2454830" y="476308"/>
                    <a:pt x="1977971" y="0"/>
                    <a:pt x="1200964" y="0"/>
                  </a:cubicBezTo>
                  <a:lnTo>
                    <a:pt x="1200964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79000"/>
                  </a:schemeClr>
                </a:gs>
                <a:gs pos="100000">
                  <a:schemeClr val="bg1"/>
                </a:gs>
              </a:gsLst>
              <a:lin ang="13500000" scaled="1"/>
            </a:gradFill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3500000" scaled="1"/>
                <a:tileRect/>
              </a:gradFill>
            </a:ln>
            <a:effectLst>
              <a:glow rad="254000">
                <a:schemeClr val="accent2">
                  <a:satMod val="175000"/>
                  <a:alpha val="2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22">
                <a:defRPr/>
              </a:pPr>
              <a:endParaRPr lang="en-US" sz="1801" dirty="0">
                <a:solidFill>
                  <a:prstClr val="white"/>
                </a:solidFill>
                <a:latin typeface="Sanofi Sans" panose="02010503030201020103" pitchFamily="2" charset="77"/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FF795500-9853-E186-B022-12E21578775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10795343" y="1538838"/>
              <a:ext cx="328656" cy="272930"/>
            </a:xfrm>
            <a:prstGeom prst="rect">
              <a:avLst/>
            </a:prstGeom>
          </p:spPr>
        </p:pic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C06062-6158-6024-B0BD-6430F2442499}"/>
              </a:ext>
            </a:extLst>
          </p:cNvPr>
          <p:cNvCxnSpPr>
            <a:cxnSpLocks/>
          </p:cNvCxnSpPr>
          <p:nvPr/>
        </p:nvCxnSpPr>
        <p:spPr>
          <a:xfrm>
            <a:off x="10454498" y="5723730"/>
            <a:ext cx="517013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accent1">
                    <a:lumMod val="30000"/>
                    <a:lumOff val="70000"/>
                    <a:alpha val="7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936AC017-9D0F-A021-AAFE-BF644BB34633}"/>
              </a:ext>
            </a:extLst>
          </p:cNvPr>
          <p:cNvSpPr txBox="1">
            <a:spLocks/>
          </p:cNvSpPr>
          <p:nvPr/>
        </p:nvSpPr>
        <p:spPr>
          <a:xfrm>
            <a:off x="1068886" y="2998360"/>
            <a:ext cx="7031333" cy="530613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  <a:defRPr sz="9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1pPr>
            <a:lvl2pPr marL="3456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Segoe UI Light" panose="020B0502040204020203" pitchFamily="34" charset="0"/>
              <a:buChar char="−"/>
              <a:defRPr sz="8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Courier New" panose="02070309020205020404" pitchFamily="49" charset="0"/>
              <a:buChar char="o"/>
              <a:defRPr sz="700" kern="1200">
                <a:solidFill>
                  <a:srgbClr val="242424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4812">
              <a:spcAft>
                <a:spcPts val="600"/>
              </a:spcAft>
              <a:buClr>
                <a:srgbClr val="EFECE8">
                  <a:lumMod val="50000"/>
                </a:srgbClr>
              </a:buClr>
              <a:buNone/>
              <a:defRPr/>
            </a:pPr>
            <a:r>
              <a:rPr lang="en-US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Стратегическая сессия</a:t>
            </a:r>
            <a:r>
              <a:rPr lang="ru-RU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:</a:t>
            </a:r>
            <a:r>
              <a:rPr lang="en-US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
</a:t>
            </a:r>
            <a:r>
              <a:rPr lang="ru-RU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Приглашены к участию региональные пациенсткие организациидля повышения компетенций и обмена опытом</a:t>
            </a:r>
            <a:r>
              <a:rPr lang="en-US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
Темы вне программы:
• Назначение препаратов по торговым</a:t>
            </a:r>
            <a:endParaRPr lang="ru-RU" sz="2800" noProof="1">
              <a:solidFill>
                <a:srgbClr val="002060"/>
              </a:solidFill>
              <a:latin typeface="Sanofi Serif Italic" panose="02060503060201090102" pitchFamily="18" charset="0"/>
            </a:endParaRPr>
          </a:p>
          <a:p>
            <a:pPr marL="0" indent="0" defTabSz="604812">
              <a:spcAft>
                <a:spcPts val="600"/>
              </a:spcAft>
              <a:buClr>
                <a:srgbClr val="EFECE8">
                  <a:lumMod val="50000"/>
                </a:srgbClr>
              </a:buClr>
              <a:buNone/>
              <a:defRPr/>
            </a:pPr>
            <a:r>
              <a:rPr lang="ru-RU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   наименованиям</a:t>
            </a:r>
            <a:r>
              <a:rPr lang="en-US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
• Дженерики
• Новости </a:t>
            </a:r>
            <a:r>
              <a:rPr lang="ru-RU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о препаратах</a:t>
            </a:r>
            <a:r>
              <a:rPr lang="en-US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
• </a:t>
            </a:r>
            <a:r>
              <a:rPr lang="ru-RU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Детальный разбор</a:t>
            </a:r>
            <a:r>
              <a:rPr lang="en-US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 терапи</a:t>
            </a:r>
            <a:r>
              <a:rPr lang="ru-RU" sz="2800" noProof="1">
                <a:solidFill>
                  <a:srgbClr val="002060"/>
                </a:solidFill>
                <a:latin typeface="Sanofi Serif Italic" panose="02060503060201090102" pitchFamily="18" charset="0"/>
              </a:rPr>
              <a:t>и</a:t>
            </a:r>
            <a:endParaRPr lang="en-US" sz="1801" noProof="1">
              <a:solidFill>
                <a:prstClr val="white"/>
              </a:solidFill>
              <a:latin typeface="Sanofi Sans" panose="02010503030201020103" pitchFamily="50" charset="0"/>
              <a:sym typeface="Arial"/>
            </a:endParaRPr>
          </a:p>
          <a:p>
            <a:pPr marL="345616" lvl="1" indent="-171459" defTabSz="685833">
              <a:spcAft>
                <a:spcPts val="299"/>
              </a:spcAft>
              <a:buClr>
                <a:prstClr val="white"/>
              </a:buClr>
              <a:defRPr/>
            </a:pPr>
            <a:endParaRPr lang="en-US" sz="1801" noProof="1">
              <a:solidFill>
                <a:prstClr val="white"/>
              </a:solidFill>
              <a:latin typeface="Sanofi Sans" panose="02010503030201020103" pitchFamily="50" charset="0"/>
              <a:sym typeface="Arial"/>
            </a:endParaRPr>
          </a:p>
          <a:p>
            <a:pPr marL="518425" lvl="2" indent="-171459" defTabSz="685833">
              <a:spcAft>
                <a:spcPts val="299"/>
              </a:spcAft>
              <a:buClr>
                <a:prstClr val="white"/>
              </a:buClr>
              <a:defRPr/>
            </a:pPr>
            <a:endParaRPr lang="en-US" sz="1801" noProof="1">
              <a:solidFill>
                <a:prstClr val="white"/>
              </a:solidFill>
              <a:latin typeface="Sanofi Sans" panose="02010503030201020103" pitchFamily="50" charset="0"/>
              <a:sym typeface="Arial"/>
            </a:endParaRPr>
          </a:p>
          <a:p>
            <a:pPr marL="518425" lvl="2" indent="-171459" defTabSz="685833">
              <a:spcAft>
                <a:spcPts val="299"/>
              </a:spcAft>
              <a:buClr>
                <a:prstClr val="white"/>
              </a:buClr>
              <a:defRPr/>
            </a:pPr>
            <a:endParaRPr lang="en-US" sz="1801" noProof="1">
              <a:solidFill>
                <a:prstClr val="white"/>
              </a:solidFill>
              <a:latin typeface="Sanofi Sans" panose="02010503030201020103" pitchFamily="50" charset="0"/>
              <a:sym typeface="Arial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66DE516-A375-EC30-1E6E-DEC663774397}"/>
              </a:ext>
            </a:extLst>
          </p:cNvPr>
          <p:cNvSpPr txBox="1"/>
          <p:nvPr/>
        </p:nvSpPr>
        <p:spPr>
          <a:xfrm>
            <a:off x="1068886" y="2379775"/>
            <a:ext cx="6916614" cy="430887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defTabSz="604812">
              <a:defRPr/>
            </a:pPr>
            <a:r>
              <a:rPr lang="da-DK" sz="3600" dirty="0">
                <a:solidFill>
                  <a:srgbClr val="002060"/>
                </a:solidFill>
                <a:latin typeface="Sanofi Serif Italic" panose="02060503060201090102" pitchFamily="18" charset="0"/>
              </a:rPr>
              <a:t>Контекст события</a:t>
            </a:r>
            <a:endParaRPr lang="en-US" sz="3600" dirty="0">
              <a:solidFill>
                <a:srgbClr val="002060"/>
              </a:solidFill>
              <a:latin typeface="Sanofi Serif Italic" panose="02060503060201090102" pitchFamily="18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1C150D5E-93E1-C82A-98BC-A3600F5697D0}"/>
              </a:ext>
            </a:extLst>
          </p:cNvPr>
          <p:cNvSpPr/>
          <p:nvPr/>
        </p:nvSpPr>
        <p:spPr>
          <a:xfrm>
            <a:off x="542383" y="838609"/>
            <a:ext cx="1124604" cy="1124604"/>
          </a:xfrm>
          <a:prstGeom prst="ellipse">
            <a:avLst/>
          </a:prstGeom>
          <a:gradFill flip="none" rotWithShape="1">
            <a:gsLst>
              <a:gs pos="0">
                <a:schemeClr val="accent2"/>
              </a:gs>
              <a:gs pos="77000">
                <a:schemeClr val="accent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22">
              <a:defRPr/>
            </a:pPr>
            <a:endParaRPr lang="en-US" sz="1200" dirty="0">
              <a:solidFill>
                <a:prstClr val="white"/>
              </a:solidFill>
              <a:latin typeface="Sanofi Sans" panose="02010503030201020103" pitchFamily="2" charset="7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E2BDE9-BE1E-92D6-1E9A-268753E9CC8B}"/>
              </a:ext>
            </a:extLst>
          </p:cNvPr>
          <p:cNvSpPr txBox="1"/>
          <p:nvPr/>
        </p:nvSpPr>
        <p:spPr>
          <a:xfrm>
            <a:off x="15183813" y="8451580"/>
            <a:ext cx="392789" cy="215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604812">
              <a:defRPr/>
            </a:pPr>
            <a:fld id="{0F257AFC-FF50-4935-A757-0D5566D30B28}" type="slidenum">
              <a:rPr lang="en-US" sz="1400">
                <a:solidFill>
                  <a:prstClr val="white"/>
                </a:solidFill>
                <a:latin typeface="Sanofi Sans" panose="02010503030201020103" pitchFamily="2" charset="77"/>
              </a:rPr>
              <a:pPr algn="r" defTabSz="604812">
                <a:defRPr/>
              </a:pPr>
              <a:t>7</a:t>
            </a:fld>
            <a:endParaRPr lang="en-US" sz="1400" dirty="0">
              <a:solidFill>
                <a:prstClr val="white"/>
              </a:solidFill>
              <a:latin typeface="Sanofi Sans" panose="02010503030201020103" pitchFamily="2" charset="77"/>
            </a:endParaRPr>
          </a:p>
        </p:txBody>
      </p:sp>
      <p:sp>
        <p:nvSpPr>
          <p:cNvPr id="2" name="ZoneTexte 2">
            <a:extLst>
              <a:ext uri="{FF2B5EF4-FFF2-40B4-BE49-F238E27FC236}">
                <a16:creationId xmlns:a16="http://schemas.microsoft.com/office/drawing/2014/main" id="{4E9E83B4-18B2-C74A-A619-5BDE5DD179BD}"/>
              </a:ext>
            </a:extLst>
          </p:cNvPr>
          <p:cNvSpPr txBox="1">
            <a:spLocks/>
          </p:cNvSpPr>
          <p:nvPr/>
        </p:nvSpPr>
        <p:spPr>
          <a:xfrm>
            <a:off x="1068887" y="972496"/>
            <a:ext cx="8864823" cy="738664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defTabSz="604812">
              <a:defRPr/>
            </a:pPr>
            <a:r>
              <a:rPr lang="en-US" sz="4800" dirty="0">
                <a:solidFill>
                  <a:srgbClr val="002060"/>
                </a:solidFill>
                <a:latin typeface="Sanofi Serif Italic" panose="02060503060201090102" pitchFamily="18" charset="0"/>
              </a:rPr>
              <a:t>Случай из практики</a:t>
            </a:r>
          </a:p>
        </p:txBody>
      </p:sp>
    </p:spTree>
    <p:extLst>
      <p:ext uri="{BB962C8B-B14F-4D97-AF65-F5344CB8AC3E}">
        <p14:creationId xmlns:p14="http://schemas.microsoft.com/office/powerpoint/2010/main" val="30721891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anofi">
  <a:themeElements>
    <a:clrScheme name="Sanofi (Optimized)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268500"/>
      </a:accent3>
      <a:accent4>
        <a:srgbClr val="DA3A16"/>
      </a:accent4>
      <a:accent5>
        <a:srgbClr val="D515B9"/>
      </a:accent5>
      <a:accent6>
        <a:srgbClr val="007FAD"/>
      </a:accent6>
      <a:hlink>
        <a:srgbClr val="7A00E6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ctr">
          <a:defRPr dirty="0" smtClean="0">
            <a:solidFill>
              <a:schemeClr val="bg1"/>
            </a:solidFill>
            <a:latin typeface="Sanofi Sans" panose="02010503030201020103" pitchFamily="2" charset="77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Support Gray">
      <a:srgbClr val="F4F2F6"/>
    </a:custClr>
    <a:custClr name="Miracle Purple">
      <a:srgbClr val="23004C"/>
    </a:custClr>
    <a:custClr name="Purple -1">
      <a:srgbClr val="370077"/>
    </a:custClr>
    <a:custClr name="Purple -2">
      <a:srgbClr val="5500B9"/>
    </a:custClr>
    <a:custClr name="Miracle Purple">
      <a:srgbClr val="7A00E6"/>
    </a:custClr>
    <a:custClr name="Purple +1">
      <a:srgbClr val="5C00AD"/>
    </a:custClr>
    <a:custClr name="Purple +2">
      <a:srgbClr val="3D0073"/>
    </a:custClr>
    <a:custClr name="Green">
      <a:srgbClr val="268500"/>
    </a:custClr>
    <a:custClr name="Green +1">
      <a:srgbClr val="1D6400"/>
    </a:custClr>
    <a:custClr name="Green +2">
      <a:srgbClr val="134200"/>
    </a:custClr>
    <a:custClr name="Red">
      <a:srgbClr val="DA3A16"/>
    </a:custClr>
    <a:custClr name="Red +1">
      <a:srgbClr val="A32C10"/>
    </a:custClr>
    <a:custClr name="Red +2">
      <a:srgbClr val="6D1D0B"/>
    </a:custClr>
    <a:custClr name="Pink">
      <a:srgbClr val="D515B9"/>
    </a:custClr>
    <a:custClr name="Pink +1">
      <a:srgbClr val="A0108B"/>
    </a:custClr>
    <a:custClr name="Pink +2">
      <a:srgbClr val="6A0B5D"/>
    </a:custClr>
    <a:custClr name="Blue">
      <a:srgbClr val="007FAD"/>
    </a:custClr>
    <a:custClr name="Blue +1">
      <a:srgbClr val="005F82"/>
    </a:custClr>
    <a:custClr name="Blue +2">
      <a:srgbClr val="003F57"/>
    </a:custClr>
  </a:custClrLst>
  <a:extLst>
    <a:ext uri="{05A4C25C-085E-4340-85A3-A5531E510DB2}">
      <thm15:themeFamily xmlns:thm15="http://schemas.microsoft.com/office/thememl/2012/main" name="Présentation6" id="{11D78C79-9E5E-3E48-9FF2-330C888ACFF7}" vid="{26AFEADE-F0C9-8642-B600-44BFE18A5CF5}"/>
    </a:ext>
  </a:extLst>
</a:theme>
</file>

<file path=ppt/theme/theme2.xml><?xml version="1.0" encoding="utf-8"?>
<a:theme xmlns:a="http://schemas.openxmlformats.org/drawingml/2006/main" name="2_Sanofi">
  <a:themeElements>
    <a:clrScheme name="Sanofi (Optimized)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268500"/>
      </a:accent3>
      <a:accent4>
        <a:srgbClr val="DA3A16"/>
      </a:accent4>
      <a:accent5>
        <a:srgbClr val="D515B9"/>
      </a:accent5>
      <a:accent6>
        <a:srgbClr val="007FAD"/>
      </a:accent6>
      <a:hlink>
        <a:srgbClr val="7A00E6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ctr">
          <a:defRPr dirty="0" smtClean="0">
            <a:solidFill>
              <a:schemeClr val="bg1"/>
            </a:solidFill>
            <a:latin typeface="Sanofi Sans" panose="02010503030201020103" pitchFamily="2" charset="77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Support Gray">
      <a:srgbClr val="F4F2F6"/>
    </a:custClr>
    <a:custClr name="Miracle Purple">
      <a:srgbClr val="23004C"/>
    </a:custClr>
    <a:custClr name="Purple -1">
      <a:srgbClr val="370077"/>
    </a:custClr>
    <a:custClr name="Purple -2">
      <a:srgbClr val="5500B9"/>
    </a:custClr>
    <a:custClr name="Miracle Purple">
      <a:srgbClr val="7A00E6"/>
    </a:custClr>
    <a:custClr name="Purple +1">
      <a:srgbClr val="5C00AD"/>
    </a:custClr>
    <a:custClr name="Purple +2">
      <a:srgbClr val="3D0073"/>
    </a:custClr>
    <a:custClr name="Green">
      <a:srgbClr val="268500"/>
    </a:custClr>
    <a:custClr name="Green +1">
      <a:srgbClr val="1D6400"/>
    </a:custClr>
    <a:custClr name="Green +2">
      <a:srgbClr val="134200"/>
    </a:custClr>
    <a:custClr name="Red">
      <a:srgbClr val="DA3A16"/>
    </a:custClr>
    <a:custClr name="Red +1">
      <a:srgbClr val="A32C10"/>
    </a:custClr>
    <a:custClr name="Red +2">
      <a:srgbClr val="6D1D0B"/>
    </a:custClr>
    <a:custClr name="Pink">
      <a:srgbClr val="D515B9"/>
    </a:custClr>
    <a:custClr name="Pink +1">
      <a:srgbClr val="A0108B"/>
    </a:custClr>
    <a:custClr name="Pink +2">
      <a:srgbClr val="6A0B5D"/>
    </a:custClr>
    <a:custClr name="Blue">
      <a:srgbClr val="007FAD"/>
    </a:custClr>
    <a:custClr name="Blue +1">
      <a:srgbClr val="005F82"/>
    </a:custClr>
    <a:custClr name="Blue +2">
      <a:srgbClr val="003F57"/>
    </a:custClr>
  </a:custClrLst>
  <a:extLst>
    <a:ext uri="{05A4C25C-085E-4340-85A3-A5531E510DB2}">
      <thm15:themeFamily xmlns:thm15="http://schemas.microsoft.com/office/thememl/2012/main" name="Présentation6" id="{11D78C79-9E5E-3E48-9FF2-330C888ACFF7}" vid="{26AFEADE-F0C9-8642-B600-44BFE18A5CF5}"/>
    </a:ext>
  </a:extLst>
</a:theme>
</file>

<file path=ppt/theme/theme3.xml><?xml version="1.0" encoding="utf-8"?>
<a:theme xmlns:a="http://schemas.openxmlformats.org/drawingml/2006/main" name="Sanofi">
  <a:themeElements>
    <a:clrScheme name="Sanofi (Optimized)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268500"/>
      </a:accent3>
      <a:accent4>
        <a:srgbClr val="DA3A16"/>
      </a:accent4>
      <a:accent5>
        <a:srgbClr val="D515B9"/>
      </a:accent5>
      <a:accent6>
        <a:srgbClr val="007FAD"/>
      </a:accent6>
      <a:hlink>
        <a:srgbClr val="7A00E6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ctr">
          <a:defRPr dirty="0" smtClean="0">
            <a:solidFill>
              <a:schemeClr val="bg1"/>
            </a:solidFill>
            <a:latin typeface="Sanofi Sans" panose="02010503030201020103" pitchFamily="2" charset="77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Support Gray">
      <a:srgbClr val="F4F2F6"/>
    </a:custClr>
    <a:custClr name="Miracle Purple">
      <a:srgbClr val="23004C"/>
    </a:custClr>
    <a:custClr name="Purple -1">
      <a:srgbClr val="370077"/>
    </a:custClr>
    <a:custClr name="Purple -2">
      <a:srgbClr val="5500B9"/>
    </a:custClr>
    <a:custClr name="Miracle Purple">
      <a:srgbClr val="7A00E6"/>
    </a:custClr>
    <a:custClr name="Purple +1">
      <a:srgbClr val="5C00AD"/>
    </a:custClr>
    <a:custClr name="Purple +2">
      <a:srgbClr val="3D0073"/>
    </a:custClr>
    <a:custClr name="Green">
      <a:srgbClr val="268500"/>
    </a:custClr>
    <a:custClr name="Green +1">
      <a:srgbClr val="1D6400"/>
    </a:custClr>
    <a:custClr name="Green +2">
      <a:srgbClr val="134200"/>
    </a:custClr>
    <a:custClr name="Red">
      <a:srgbClr val="DA3A16"/>
    </a:custClr>
    <a:custClr name="Red +1">
      <a:srgbClr val="A32C10"/>
    </a:custClr>
    <a:custClr name="Red +2">
      <a:srgbClr val="6D1D0B"/>
    </a:custClr>
    <a:custClr name="Pink">
      <a:srgbClr val="D515B9"/>
    </a:custClr>
    <a:custClr name="Pink +1">
      <a:srgbClr val="A0108B"/>
    </a:custClr>
    <a:custClr name="Pink +2">
      <a:srgbClr val="6A0B5D"/>
    </a:custClr>
    <a:custClr name="Blue">
      <a:srgbClr val="007FAD"/>
    </a:custClr>
    <a:custClr name="Blue +1">
      <a:srgbClr val="005F82"/>
    </a:custClr>
    <a:custClr name="Blue +2">
      <a:srgbClr val="003F57"/>
    </a:custClr>
  </a:custClrLst>
  <a:extLst>
    <a:ext uri="{05A4C25C-085E-4340-85A3-A5531E510DB2}">
      <thm15:themeFamily xmlns:thm15="http://schemas.microsoft.com/office/thememl/2012/main" name="Inspirational presentation V6 241210" id="{32348055-56A6-486C-8D31-14D9C8632133}" vid="{0F996842-CA0A-4B09-A431-3F9F6AB80135}"/>
    </a:ext>
  </a:extLst>
</a:theme>
</file>

<file path=ppt/theme/theme4.xml><?xml version="1.0" encoding="utf-8"?>
<a:theme xmlns:a="http://schemas.openxmlformats.org/drawingml/2006/main" name="3_Sanofi">
  <a:themeElements>
    <a:clrScheme name="Sanofi (Optimized)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268500"/>
      </a:accent3>
      <a:accent4>
        <a:srgbClr val="DA3A16"/>
      </a:accent4>
      <a:accent5>
        <a:srgbClr val="D515B9"/>
      </a:accent5>
      <a:accent6>
        <a:srgbClr val="007FAD"/>
      </a:accent6>
      <a:hlink>
        <a:srgbClr val="7A00E6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ctr">
          <a:defRPr dirty="0" smtClean="0">
            <a:solidFill>
              <a:schemeClr val="bg1"/>
            </a:solidFill>
            <a:latin typeface="Sanofi Sans" panose="02010503030201020103" pitchFamily="2" charset="77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Support Gray">
      <a:srgbClr val="F4F2F6"/>
    </a:custClr>
    <a:custClr name="Miracle Purple">
      <a:srgbClr val="23004C"/>
    </a:custClr>
    <a:custClr name="Purple -1">
      <a:srgbClr val="370077"/>
    </a:custClr>
    <a:custClr name="Purple -2">
      <a:srgbClr val="5500B9"/>
    </a:custClr>
    <a:custClr name="Miracle Purple">
      <a:srgbClr val="7A00E6"/>
    </a:custClr>
    <a:custClr name="Purple +1">
      <a:srgbClr val="5C00AD"/>
    </a:custClr>
    <a:custClr name="Purple +2">
      <a:srgbClr val="3D0073"/>
    </a:custClr>
    <a:custClr name="Green">
      <a:srgbClr val="268500"/>
    </a:custClr>
    <a:custClr name="Green +1">
      <a:srgbClr val="1D6400"/>
    </a:custClr>
    <a:custClr name="Green +2">
      <a:srgbClr val="134200"/>
    </a:custClr>
    <a:custClr name="Red">
      <a:srgbClr val="DA3A16"/>
    </a:custClr>
    <a:custClr name="Red +1">
      <a:srgbClr val="A32C10"/>
    </a:custClr>
    <a:custClr name="Red +2">
      <a:srgbClr val="6D1D0B"/>
    </a:custClr>
    <a:custClr name="Pink">
      <a:srgbClr val="D515B9"/>
    </a:custClr>
    <a:custClr name="Pink +1">
      <a:srgbClr val="A0108B"/>
    </a:custClr>
    <a:custClr name="Pink +2">
      <a:srgbClr val="6A0B5D"/>
    </a:custClr>
    <a:custClr name="Blue">
      <a:srgbClr val="007FAD"/>
    </a:custClr>
    <a:custClr name="Blue +1">
      <a:srgbClr val="005F82"/>
    </a:custClr>
    <a:custClr name="Blue +2">
      <a:srgbClr val="003F57"/>
    </a:custClr>
  </a:custClrLst>
  <a:extLst>
    <a:ext uri="{05A4C25C-085E-4340-85A3-A5531E510DB2}">
      <thm15:themeFamily xmlns:thm15="http://schemas.microsoft.com/office/thememl/2012/main" name="Présentation6" id="{11D78C79-9E5E-3E48-9FF2-330C888ACFF7}" vid="{26AFEADE-F0C9-8642-B600-44BFE18A5CF5}"/>
    </a:ext>
  </a:extLst>
</a:theme>
</file>

<file path=ppt/theme/theme5.xml><?xml version="1.0" encoding="utf-8"?>
<a:theme xmlns:a="http://schemas.openxmlformats.org/drawingml/2006/main" name="4_Sanofi">
  <a:themeElements>
    <a:clrScheme name="Sanofi (Optimized)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268500"/>
      </a:accent3>
      <a:accent4>
        <a:srgbClr val="DA3A16"/>
      </a:accent4>
      <a:accent5>
        <a:srgbClr val="D515B9"/>
      </a:accent5>
      <a:accent6>
        <a:srgbClr val="007FAD"/>
      </a:accent6>
      <a:hlink>
        <a:srgbClr val="7A00E6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ctr">
          <a:defRPr dirty="0" smtClean="0">
            <a:solidFill>
              <a:schemeClr val="bg1"/>
            </a:solidFill>
            <a:latin typeface="Sanofi Sans" panose="02010503030201020103" pitchFamily="2" charset="77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Support Gray">
      <a:srgbClr val="F4F2F6"/>
    </a:custClr>
    <a:custClr name="Miracle Purple">
      <a:srgbClr val="23004C"/>
    </a:custClr>
    <a:custClr name="Purple -1">
      <a:srgbClr val="370077"/>
    </a:custClr>
    <a:custClr name="Purple -2">
      <a:srgbClr val="5500B9"/>
    </a:custClr>
    <a:custClr name="Miracle Purple">
      <a:srgbClr val="7A00E6"/>
    </a:custClr>
    <a:custClr name="Purple +1">
      <a:srgbClr val="5C00AD"/>
    </a:custClr>
    <a:custClr name="Purple +2">
      <a:srgbClr val="3D0073"/>
    </a:custClr>
    <a:custClr name="Green">
      <a:srgbClr val="268500"/>
    </a:custClr>
    <a:custClr name="Green +1">
      <a:srgbClr val="1D6400"/>
    </a:custClr>
    <a:custClr name="Green +2">
      <a:srgbClr val="134200"/>
    </a:custClr>
    <a:custClr name="Red">
      <a:srgbClr val="DA3A16"/>
    </a:custClr>
    <a:custClr name="Red +1">
      <a:srgbClr val="A32C10"/>
    </a:custClr>
    <a:custClr name="Red +2">
      <a:srgbClr val="6D1D0B"/>
    </a:custClr>
    <a:custClr name="Pink">
      <a:srgbClr val="D515B9"/>
    </a:custClr>
    <a:custClr name="Pink +1">
      <a:srgbClr val="A0108B"/>
    </a:custClr>
    <a:custClr name="Pink +2">
      <a:srgbClr val="6A0B5D"/>
    </a:custClr>
    <a:custClr name="Blue">
      <a:srgbClr val="007FAD"/>
    </a:custClr>
    <a:custClr name="Blue +1">
      <a:srgbClr val="005F82"/>
    </a:custClr>
    <a:custClr name="Blue +2">
      <a:srgbClr val="003F57"/>
    </a:custClr>
  </a:custClrLst>
  <a:extLst>
    <a:ext uri="{05A4C25C-085E-4340-85A3-A5531E510DB2}">
      <thm15:themeFamily xmlns:thm15="http://schemas.microsoft.com/office/thememl/2012/main" name="Présentation6" id="{11D78C79-9E5E-3E48-9FF2-330C888ACFF7}" vid="{26AFEADE-F0C9-8642-B600-44BFE18A5CF5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7A01E6"/>
    </a:dk2>
    <a:lt2>
      <a:srgbClr val="F2F2F2"/>
    </a:lt2>
    <a:accent1>
      <a:srgbClr val="30005C"/>
    </a:accent1>
    <a:accent2>
      <a:srgbClr val="460171"/>
    </a:accent2>
    <a:accent3>
      <a:srgbClr val="FFC111"/>
    </a:accent3>
    <a:accent4>
      <a:srgbClr val="BD97FB"/>
    </a:accent4>
    <a:accent5>
      <a:srgbClr val="44546A"/>
    </a:accent5>
    <a:accent6>
      <a:srgbClr val="0070C0"/>
    </a:accent6>
    <a:hlink>
      <a:srgbClr val="62D488"/>
    </a:hlink>
    <a:folHlink>
      <a:srgbClr val="23004C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BC8CD11494E4429960E6F87342A4E9" ma:contentTypeVersion="14" ma:contentTypeDescription="Create a new document." ma:contentTypeScope="" ma:versionID="74c998e3b897ff40634ce135e9450307">
  <xsd:schema xmlns:xsd="http://www.w3.org/2001/XMLSchema" xmlns:xs="http://www.w3.org/2001/XMLSchema" xmlns:p="http://schemas.microsoft.com/office/2006/metadata/properties" xmlns:ns2="c178e901-41b3-43b4-aadd-b327338c9192" xmlns:ns3="ac351a47-6536-40b2-b37a-d551abe6f093" targetNamespace="http://schemas.microsoft.com/office/2006/metadata/properties" ma:root="true" ma:fieldsID="765dc3f3ae0f03aba4f1b575d6d4d94f" ns2:_="" ns3:_="">
    <xsd:import namespace="c178e901-41b3-43b4-aadd-b327338c9192"/>
    <xsd:import namespace="ac351a47-6536-40b2-b37a-d551abe6f0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8e901-41b3-43b4-aadd-b327338c91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4fb0b088-da3c-47ed-872c-fc1360427a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351a47-6536-40b2-b37a-d551abe6f093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2931245b-527d-4c1f-bded-8293011b14ad}" ma:internalName="TaxCatchAll" ma:showField="CatchAllData" ma:web="ac351a47-6536-40b2-b37a-d551abe6f0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351a47-6536-40b2-b37a-d551abe6f093" xsi:nil="true"/>
    <lcf76f155ced4ddcb4097134ff3c332f xmlns="c178e901-41b3-43b4-aadd-b327338c919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F16FCFA-5864-43E0-BE78-0144174BD9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78e901-41b3-43b4-aadd-b327338c9192"/>
    <ds:schemaRef ds:uri="ac351a47-6536-40b2-b37a-d551abe6f0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BC5AD5-0F32-49DF-943A-E10CE7BB53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7E9A27E-498D-4930-8800-A4B2C305DB41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ac351a47-6536-40b2-b37a-d551abe6f09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c178e901-41b3-43b4-aadd-b327338c9192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d9088468-0951-4aef-9cc3-0a346e475ddc}" enabled="1" method="Privileged" siteId="{aca3c8d6-aa71-4e1a-a10e-03572fc58c0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odele_Sanofi_Sept24</Template>
  <TotalTime>3402</TotalTime>
  <Words>694</Words>
  <Application>Microsoft Office PowerPoint</Application>
  <PresentationFormat>Произвольный</PresentationFormat>
  <Paragraphs>115</Paragraphs>
  <Slides>7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7" baseType="lpstr">
      <vt:lpstr>Trebuchet MS</vt:lpstr>
      <vt:lpstr>Sanofi Serif Italic</vt:lpstr>
      <vt:lpstr>Verdana</vt:lpstr>
      <vt:lpstr>Calibri</vt:lpstr>
      <vt:lpstr>Courier New</vt:lpstr>
      <vt:lpstr>Aptos</vt:lpstr>
      <vt:lpstr>Wingdings</vt:lpstr>
      <vt:lpstr>Arial</vt:lpstr>
      <vt:lpstr>Segoe UI Light</vt:lpstr>
      <vt:lpstr>Sanofi Serif</vt:lpstr>
      <vt:lpstr>Sanofi Sans</vt:lpstr>
      <vt:lpstr>Georgia</vt:lpstr>
      <vt:lpstr>Times New Roman</vt:lpstr>
      <vt:lpstr>Sanofi Sans 3 Regular</vt:lpstr>
      <vt:lpstr>1_Sanofi</vt:lpstr>
      <vt:lpstr>2_Sanofi</vt:lpstr>
      <vt:lpstr>Sanofi</vt:lpstr>
      <vt:lpstr>3_Sanofi</vt:lpstr>
      <vt:lpstr>4_Sanofi</vt:lpstr>
      <vt:lpstr>think-cell Slide</vt:lpstr>
      <vt:lpstr>РЕГИОНАЛЬНЫЕ МОДЕЛИ ВЗАИМОДЕЙСТВИЯ ФАРМКОМПАНИЙ И ПАЦИЕНТСКИХ НКО  ОСНОВНЫЕ ПОДХОДЫ В РАБОТЕ С ПАЦИЕНТСКИМИ ОРГАНИЗАЦИЯМИ </vt:lpstr>
      <vt:lpstr>Презентация PowerPoint</vt:lpstr>
      <vt:lpstr>Главный принцип: пациент всегда в центре</vt:lpstr>
      <vt:lpstr>Взаимодействие с пациентскими организациями (ПО): краткий обзор разрешенных и запрещенных видов деятельности 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учай из практики: участие в конференции региональной пациентской организации</dc:title>
  <dc:creator>Streltsov, Alexander /RU</dc:creator>
  <dc:description>Generated by Concierge AI</dc:description>
  <cp:lastModifiedBy>User001</cp:lastModifiedBy>
  <cp:revision>217</cp:revision>
  <dcterms:created xsi:type="dcterms:W3CDTF">2026-05-06T11:43:40Z</dcterms:created>
  <dcterms:modified xsi:type="dcterms:W3CDTF">2026-05-22T11:1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9088468-0951-4aef-9cc3-0a346e475ddc_Enabled">
    <vt:lpwstr>true</vt:lpwstr>
  </property>
  <property fmtid="{D5CDD505-2E9C-101B-9397-08002B2CF9AE}" pid="3" name="MSIP_Label_d9088468-0951-4aef-9cc3-0a346e475ddc_SetDate">
    <vt:lpwstr>2025-01-21T12:42:11Z</vt:lpwstr>
  </property>
  <property fmtid="{D5CDD505-2E9C-101B-9397-08002B2CF9AE}" pid="4" name="MSIP_Label_d9088468-0951-4aef-9cc3-0a346e475ddc_Method">
    <vt:lpwstr>Privileged</vt:lpwstr>
  </property>
  <property fmtid="{D5CDD505-2E9C-101B-9397-08002B2CF9AE}" pid="5" name="MSIP_Label_d9088468-0951-4aef-9cc3-0a346e475ddc_Name">
    <vt:lpwstr>Public</vt:lpwstr>
  </property>
  <property fmtid="{D5CDD505-2E9C-101B-9397-08002B2CF9AE}" pid="6" name="MSIP_Label_d9088468-0951-4aef-9cc3-0a346e475ddc_SiteId">
    <vt:lpwstr>aca3c8d6-aa71-4e1a-a10e-03572fc58c0b</vt:lpwstr>
  </property>
  <property fmtid="{D5CDD505-2E9C-101B-9397-08002B2CF9AE}" pid="7" name="MSIP_Label_d9088468-0951-4aef-9cc3-0a346e475ddc_ActionId">
    <vt:lpwstr>64384bb1-595c-4467-bf1d-7f4d549b4e24</vt:lpwstr>
  </property>
  <property fmtid="{D5CDD505-2E9C-101B-9397-08002B2CF9AE}" pid="8" name="MSIP_Label_d9088468-0951-4aef-9cc3-0a346e475ddc_ContentBits">
    <vt:lpwstr>0</vt:lpwstr>
  </property>
  <property fmtid="{D5CDD505-2E9C-101B-9397-08002B2CF9AE}" pid="9" name="ContentTypeId">
    <vt:lpwstr>0x0101009ABC8CD11494E4429960E6F87342A4E9</vt:lpwstr>
  </property>
  <property fmtid="{D5CDD505-2E9C-101B-9397-08002B2CF9AE}" pid="10" name="MediaServiceImageTags">
    <vt:lpwstr/>
  </property>
</Properties>
</file>